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11"/>
  </p:notesMasterIdLst>
  <p:handoutMasterIdLst>
    <p:handoutMasterId r:id="rId12"/>
  </p:handoutMasterIdLst>
  <p:sldIdLst>
    <p:sldId id="256" r:id="rId5"/>
    <p:sldId id="12942" r:id="rId6"/>
    <p:sldId id="5530" r:id="rId7"/>
    <p:sldId id="12941" r:id="rId8"/>
    <p:sldId id="5531" r:id="rId9"/>
    <p:sldId id="12940" r:id="rId1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5B60CA-4C81-4177-8D1B-63B1215EEB60}" v="58" dt="2024-06-27T07:19:05.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07" autoAdjust="0"/>
    <p:restoredTop sz="96170" autoAdjust="0"/>
  </p:normalViewPr>
  <p:slideViewPr>
    <p:cSldViewPr snapToGrid="0">
      <p:cViewPr varScale="1">
        <p:scale>
          <a:sx n="118" d="100"/>
          <a:sy n="118" d="100"/>
        </p:scale>
        <p:origin x="896" y="19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adar, Shivasagar" userId="4b865266-c56a-491e-9f88-d9f07bb8d3d0" providerId="ADAL" clId="{F55E1132-77ED-1F41-B7D6-3009DD84E578}"/>
    <pc:docChg chg="undo custSel addSld delSld modSld">
      <pc:chgData name="Biradar, Shivasagar" userId="4b865266-c56a-491e-9f88-d9f07bb8d3d0" providerId="ADAL" clId="{F55E1132-77ED-1F41-B7D6-3009DD84E578}" dt="2024-04-18T07:46:06.449" v="814" actId="20577"/>
      <pc:docMkLst>
        <pc:docMk/>
      </pc:docMkLst>
      <pc:sldChg chg="addSp delSp modSp mod modNotesTx">
        <pc:chgData name="Biradar, Shivasagar" userId="4b865266-c56a-491e-9f88-d9f07bb8d3d0" providerId="ADAL" clId="{F55E1132-77ED-1F41-B7D6-3009DD84E578}" dt="2024-04-18T05:34:34.086" v="693"/>
        <pc:sldMkLst>
          <pc:docMk/>
          <pc:sldMk cId="1263283585" sldId="5530"/>
        </pc:sldMkLst>
        <pc:spChg chg="mod">
          <ac:chgData name="Biradar, Shivasagar" userId="4b865266-c56a-491e-9f88-d9f07bb8d3d0" providerId="ADAL" clId="{F55E1132-77ED-1F41-B7D6-3009DD84E578}" dt="2024-04-17T13:04:56.949" v="390"/>
          <ac:spMkLst>
            <pc:docMk/>
            <pc:sldMk cId="1263283585" sldId="5530"/>
            <ac:spMk id="2" creationId="{7ED69F31-BF85-614E-9D06-00989F090129}"/>
          </ac:spMkLst>
        </pc:spChg>
        <pc:spChg chg="mod">
          <ac:chgData name="Biradar, Shivasagar" userId="4b865266-c56a-491e-9f88-d9f07bb8d3d0" providerId="ADAL" clId="{F55E1132-77ED-1F41-B7D6-3009DD84E578}" dt="2024-04-17T13:53:32.651" v="472" actId="1076"/>
          <ac:spMkLst>
            <pc:docMk/>
            <pc:sldMk cId="1263283585" sldId="5530"/>
            <ac:spMk id="4" creationId="{512F5352-39AA-8B3D-F846-21EA24F963DA}"/>
          </ac:spMkLst>
        </pc:spChg>
        <pc:spChg chg="add mod">
          <ac:chgData name="Biradar, Shivasagar" userId="4b865266-c56a-491e-9f88-d9f07bb8d3d0" providerId="ADAL" clId="{F55E1132-77ED-1F41-B7D6-3009DD84E578}" dt="2024-04-18T05:26:19.087" v="692" actId="1076"/>
          <ac:spMkLst>
            <pc:docMk/>
            <pc:sldMk cId="1263283585" sldId="5530"/>
            <ac:spMk id="5" creationId="{DF72BBA3-C0F1-D0EA-7917-98317DB37BA6}"/>
          </ac:spMkLst>
        </pc:spChg>
        <pc:spChg chg="add del mod">
          <ac:chgData name="Biradar, Shivasagar" userId="4b865266-c56a-491e-9f88-d9f07bb8d3d0" providerId="ADAL" clId="{F55E1132-77ED-1F41-B7D6-3009DD84E578}" dt="2024-04-17T13:44:26.055" v="414"/>
          <ac:spMkLst>
            <pc:docMk/>
            <pc:sldMk cId="1263283585" sldId="5530"/>
            <ac:spMk id="8" creationId="{B8AA7958-6414-7303-6A76-E01873CEA2E6}"/>
          </ac:spMkLst>
        </pc:spChg>
        <pc:spChg chg="add mod">
          <ac:chgData name="Biradar, Shivasagar" userId="4b865266-c56a-491e-9f88-d9f07bb8d3d0" providerId="ADAL" clId="{F55E1132-77ED-1F41-B7D6-3009DD84E578}" dt="2024-04-17T13:53:09.764" v="471" actId="1036"/>
          <ac:spMkLst>
            <pc:docMk/>
            <pc:sldMk cId="1263283585" sldId="5530"/>
            <ac:spMk id="9" creationId="{28EC6AAA-1A93-8F02-4886-B305FB335B6E}"/>
          </ac:spMkLst>
        </pc:spChg>
        <pc:spChg chg="mod">
          <ac:chgData name="Biradar, Shivasagar" userId="4b865266-c56a-491e-9f88-d9f07bb8d3d0" providerId="ADAL" clId="{F55E1132-77ED-1F41-B7D6-3009DD84E578}" dt="2024-04-17T13:05:10.436" v="393" actId="1076"/>
          <ac:spMkLst>
            <pc:docMk/>
            <pc:sldMk cId="1263283585" sldId="5530"/>
            <ac:spMk id="10" creationId="{C903F74E-6D3D-4EB3-DCD3-102B9E614423}"/>
          </ac:spMkLst>
        </pc:spChg>
        <pc:spChg chg="add mod">
          <ac:chgData name="Biradar, Shivasagar" userId="4b865266-c56a-491e-9f88-d9f07bb8d3d0" providerId="ADAL" clId="{F55E1132-77ED-1F41-B7D6-3009DD84E578}" dt="2024-04-17T13:53:09.764" v="471" actId="1036"/>
          <ac:spMkLst>
            <pc:docMk/>
            <pc:sldMk cId="1263283585" sldId="5530"/>
            <ac:spMk id="12" creationId="{838696BD-8A8F-BD78-AC4A-BFA734CBDF1D}"/>
          </ac:spMkLst>
        </pc:spChg>
        <pc:spChg chg="mod">
          <ac:chgData name="Biradar, Shivasagar" userId="4b865266-c56a-491e-9f88-d9f07bb8d3d0" providerId="ADAL" clId="{F55E1132-77ED-1F41-B7D6-3009DD84E578}" dt="2024-04-17T13:53:32.651" v="472" actId="1076"/>
          <ac:spMkLst>
            <pc:docMk/>
            <pc:sldMk cId="1263283585" sldId="5530"/>
            <ac:spMk id="13" creationId="{10459E1D-0649-FF48-079E-322D44E816D2}"/>
          </ac:spMkLst>
        </pc:spChg>
        <pc:spChg chg="mod">
          <ac:chgData name="Biradar, Shivasagar" userId="4b865266-c56a-491e-9f88-d9f07bb8d3d0" providerId="ADAL" clId="{F55E1132-77ED-1F41-B7D6-3009DD84E578}" dt="2024-04-17T13:53:32.651" v="472" actId="1076"/>
          <ac:spMkLst>
            <pc:docMk/>
            <pc:sldMk cId="1263283585" sldId="5530"/>
            <ac:spMk id="14" creationId="{EEF4E482-87A0-F013-A8FB-BB380AD8A2B9}"/>
          </ac:spMkLst>
        </pc:spChg>
        <pc:spChg chg="mod">
          <ac:chgData name="Biradar, Shivasagar" userId="4b865266-c56a-491e-9f88-d9f07bb8d3d0" providerId="ADAL" clId="{F55E1132-77ED-1F41-B7D6-3009DD84E578}" dt="2024-04-17T13:53:32.651" v="472" actId="1076"/>
          <ac:spMkLst>
            <pc:docMk/>
            <pc:sldMk cId="1263283585" sldId="5530"/>
            <ac:spMk id="15" creationId="{9367347A-10D8-1E07-9C91-4E95EFC5D357}"/>
          </ac:spMkLst>
        </pc:spChg>
        <pc:spChg chg="mod">
          <ac:chgData name="Biradar, Shivasagar" userId="4b865266-c56a-491e-9f88-d9f07bb8d3d0" providerId="ADAL" clId="{F55E1132-77ED-1F41-B7D6-3009DD84E578}" dt="2024-04-17T13:53:32.651" v="472" actId="1076"/>
          <ac:spMkLst>
            <pc:docMk/>
            <pc:sldMk cId="1263283585" sldId="5530"/>
            <ac:spMk id="16" creationId="{72D4240F-DA83-A010-34AC-0CF700920CC3}"/>
          </ac:spMkLst>
        </pc:spChg>
        <pc:spChg chg="mod">
          <ac:chgData name="Biradar, Shivasagar" userId="4b865266-c56a-491e-9f88-d9f07bb8d3d0" providerId="ADAL" clId="{F55E1132-77ED-1F41-B7D6-3009DD84E578}" dt="2024-04-17T13:53:32.651" v="472" actId="1076"/>
          <ac:spMkLst>
            <pc:docMk/>
            <pc:sldMk cId="1263283585" sldId="5530"/>
            <ac:spMk id="17" creationId="{AD48F3D2-51CC-6E47-C13B-1345227E9B31}"/>
          </ac:spMkLst>
        </pc:spChg>
        <pc:spChg chg="add mod">
          <ac:chgData name="Biradar, Shivasagar" userId="4b865266-c56a-491e-9f88-d9f07bb8d3d0" providerId="ADAL" clId="{F55E1132-77ED-1F41-B7D6-3009DD84E578}" dt="2024-04-17T13:55:21.070" v="479" actId="1076"/>
          <ac:spMkLst>
            <pc:docMk/>
            <pc:sldMk cId="1263283585" sldId="5530"/>
            <ac:spMk id="18" creationId="{A251F0FB-A381-02CE-49AD-3A005D544167}"/>
          </ac:spMkLst>
        </pc:spChg>
        <pc:spChg chg="add mod">
          <ac:chgData name="Biradar, Shivasagar" userId="4b865266-c56a-491e-9f88-d9f07bb8d3d0" providerId="ADAL" clId="{F55E1132-77ED-1F41-B7D6-3009DD84E578}" dt="2024-04-17T13:56:10.899" v="487" actId="1076"/>
          <ac:spMkLst>
            <pc:docMk/>
            <pc:sldMk cId="1263283585" sldId="5530"/>
            <ac:spMk id="20" creationId="{60714893-F1E7-FF4A-1316-DCA5AF2E69B2}"/>
          </ac:spMkLst>
        </pc:spChg>
        <pc:picChg chg="mod">
          <ac:chgData name="Biradar, Shivasagar" userId="4b865266-c56a-491e-9f88-d9f07bb8d3d0" providerId="ADAL" clId="{F55E1132-77ED-1F41-B7D6-3009DD84E578}" dt="2024-04-17T13:53:09.764" v="471" actId="1036"/>
          <ac:picMkLst>
            <pc:docMk/>
            <pc:sldMk cId="1263283585" sldId="5530"/>
            <ac:picMk id="3" creationId="{BB6530A4-A4D5-3E18-681F-49D940197F82}"/>
          </ac:picMkLst>
        </pc:picChg>
        <pc:cxnChg chg="add mod">
          <ac:chgData name="Biradar, Shivasagar" userId="4b865266-c56a-491e-9f88-d9f07bb8d3d0" providerId="ADAL" clId="{F55E1132-77ED-1F41-B7D6-3009DD84E578}" dt="2024-04-17T13:53:09.764" v="471" actId="1036"/>
          <ac:cxnSpMkLst>
            <pc:docMk/>
            <pc:sldMk cId="1263283585" sldId="5530"/>
            <ac:cxnSpMk id="7" creationId="{DBCEF478-0F84-F956-E15B-0D82924A99C4}"/>
          </ac:cxnSpMkLst>
        </pc:cxnChg>
        <pc:cxnChg chg="add mod">
          <ac:chgData name="Biradar, Shivasagar" userId="4b865266-c56a-491e-9f88-d9f07bb8d3d0" providerId="ADAL" clId="{F55E1132-77ED-1F41-B7D6-3009DD84E578}" dt="2024-04-17T13:53:09.764" v="471" actId="1036"/>
          <ac:cxnSpMkLst>
            <pc:docMk/>
            <pc:sldMk cId="1263283585" sldId="5530"/>
            <ac:cxnSpMk id="11" creationId="{1143300B-9330-ECAD-8D5A-FD11BFA5ABEE}"/>
          </ac:cxnSpMkLst>
        </pc:cxnChg>
        <pc:cxnChg chg="add mod">
          <ac:chgData name="Biradar, Shivasagar" userId="4b865266-c56a-491e-9f88-d9f07bb8d3d0" providerId="ADAL" clId="{F55E1132-77ED-1F41-B7D6-3009DD84E578}" dt="2024-04-17T13:55:57.400" v="481" actId="1076"/>
          <ac:cxnSpMkLst>
            <pc:docMk/>
            <pc:sldMk cId="1263283585" sldId="5530"/>
            <ac:cxnSpMk id="19" creationId="{490F5A0D-D4A4-DA85-EAE2-1B700532840B}"/>
          </ac:cxnSpMkLst>
        </pc:cxnChg>
      </pc:sldChg>
      <pc:sldChg chg="addSp delSp modSp mod">
        <pc:chgData name="Biradar, Shivasagar" userId="4b865266-c56a-491e-9f88-d9f07bb8d3d0" providerId="ADAL" clId="{F55E1132-77ED-1F41-B7D6-3009DD84E578}" dt="2024-04-18T04:49:18.023" v="641" actId="1076"/>
        <pc:sldMkLst>
          <pc:docMk/>
          <pc:sldMk cId="328063575" sldId="5531"/>
        </pc:sldMkLst>
        <pc:spChg chg="mod">
          <ac:chgData name="Biradar, Shivasagar" userId="4b865266-c56a-491e-9f88-d9f07bb8d3d0" providerId="ADAL" clId="{F55E1132-77ED-1F41-B7D6-3009DD84E578}" dt="2024-04-18T04:47:42.817" v="635"/>
          <ac:spMkLst>
            <pc:docMk/>
            <pc:sldMk cId="328063575" sldId="5531"/>
            <ac:spMk id="2" creationId="{7ED69F31-BF85-614E-9D06-00989F090129}"/>
          </ac:spMkLst>
        </pc:spChg>
        <pc:spChg chg="mod">
          <ac:chgData name="Biradar, Shivasagar" userId="4b865266-c56a-491e-9f88-d9f07bb8d3d0" providerId="ADAL" clId="{F55E1132-77ED-1F41-B7D6-3009DD84E578}" dt="2024-04-17T17:13:03.825" v="602" actId="1076"/>
          <ac:spMkLst>
            <pc:docMk/>
            <pc:sldMk cId="328063575" sldId="5531"/>
            <ac:spMk id="4" creationId="{5E917D13-0913-3DD3-96F2-F1336C00EE2B}"/>
          </ac:spMkLst>
        </pc:spChg>
        <pc:spChg chg="mod">
          <ac:chgData name="Biradar, Shivasagar" userId="4b865266-c56a-491e-9f88-d9f07bb8d3d0" providerId="ADAL" clId="{F55E1132-77ED-1F41-B7D6-3009DD84E578}" dt="2024-04-17T17:13:03.825" v="602" actId="1076"/>
          <ac:spMkLst>
            <pc:docMk/>
            <pc:sldMk cId="328063575" sldId="5531"/>
            <ac:spMk id="5" creationId="{2ED077CE-1C53-6B8B-01BC-740A2F062B24}"/>
          </ac:spMkLst>
        </pc:spChg>
        <pc:spChg chg="mod">
          <ac:chgData name="Biradar, Shivasagar" userId="4b865266-c56a-491e-9f88-d9f07bb8d3d0" providerId="ADAL" clId="{F55E1132-77ED-1F41-B7D6-3009DD84E578}" dt="2024-04-17T17:13:03.825" v="602" actId="1076"/>
          <ac:spMkLst>
            <pc:docMk/>
            <pc:sldMk cId="328063575" sldId="5531"/>
            <ac:spMk id="6" creationId="{DF0160D2-F3EE-7A88-93BB-46A44F4C5F32}"/>
          </ac:spMkLst>
        </pc:spChg>
        <pc:spChg chg="add mod">
          <ac:chgData name="Biradar, Shivasagar" userId="4b865266-c56a-491e-9f88-d9f07bb8d3d0" providerId="ADAL" clId="{F55E1132-77ED-1F41-B7D6-3009DD84E578}" dt="2024-04-18T04:06:39.708" v="603" actId="1076"/>
          <ac:spMkLst>
            <pc:docMk/>
            <pc:sldMk cId="328063575" sldId="5531"/>
            <ac:spMk id="8" creationId="{933483D4-0A46-DD0C-9677-FE7B3C33AEE8}"/>
          </ac:spMkLst>
        </pc:spChg>
        <pc:spChg chg="mod">
          <ac:chgData name="Biradar, Shivasagar" userId="4b865266-c56a-491e-9f88-d9f07bb8d3d0" providerId="ADAL" clId="{F55E1132-77ED-1F41-B7D6-3009DD84E578}" dt="2024-04-17T17:13:03.825" v="602" actId="1076"/>
          <ac:spMkLst>
            <pc:docMk/>
            <pc:sldMk cId="328063575" sldId="5531"/>
            <ac:spMk id="10" creationId="{20B8F39E-B566-62CF-D7A2-429398A6C7CD}"/>
          </ac:spMkLst>
        </pc:spChg>
        <pc:spChg chg="mod">
          <ac:chgData name="Biradar, Shivasagar" userId="4b865266-c56a-491e-9f88-d9f07bb8d3d0" providerId="ADAL" clId="{F55E1132-77ED-1F41-B7D6-3009DD84E578}" dt="2024-04-17T17:13:03.825" v="602" actId="1076"/>
          <ac:spMkLst>
            <pc:docMk/>
            <pc:sldMk cId="328063575" sldId="5531"/>
            <ac:spMk id="11" creationId="{50AFF5EE-0113-2B39-D3D9-BC11CE7C2715}"/>
          </ac:spMkLst>
        </pc:spChg>
        <pc:spChg chg="add mod">
          <ac:chgData name="Biradar, Shivasagar" userId="4b865266-c56a-491e-9f88-d9f07bb8d3d0" providerId="ADAL" clId="{F55E1132-77ED-1F41-B7D6-3009DD84E578}" dt="2024-04-18T04:06:39.708" v="603" actId="1076"/>
          <ac:spMkLst>
            <pc:docMk/>
            <pc:sldMk cId="328063575" sldId="5531"/>
            <ac:spMk id="12" creationId="{B140411D-0066-E2A8-0343-E1FD99652B13}"/>
          </ac:spMkLst>
        </pc:spChg>
        <pc:spChg chg="mod">
          <ac:chgData name="Biradar, Shivasagar" userId="4b865266-c56a-491e-9f88-d9f07bb8d3d0" providerId="ADAL" clId="{F55E1132-77ED-1F41-B7D6-3009DD84E578}" dt="2024-04-17T17:13:03.825" v="602" actId="1076"/>
          <ac:spMkLst>
            <pc:docMk/>
            <pc:sldMk cId="328063575" sldId="5531"/>
            <ac:spMk id="13" creationId="{EDB323EE-62E7-E6F8-DAFA-F79A68EF177F}"/>
          </ac:spMkLst>
        </pc:spChg>
        <pc:spChg chg="add mod">
          <ac:chgData name="Biradar, Shivasagar" userId="4b865266-c56a-491e-9f88-d9f07bb8d3d0" providerId="ADAL" clId="{F55E1132-77ED-1F41-B7D6-3009DD84E578}" dt="2024-04-18T04:06:39.708" v="603" actId="1076"/>
          <ac:spMkLst>
            <pc:docMk/>
            <pc:sldMk cId="328063575" sldId="5531"/>
            <ac:spMk id="15" creationId="{5A4D2957-BB03-2FAB-5FB7-466580149D89}"/>
          </ac:spMkLst>
        </pc:spChg>
        <pc:spChg chg="add mod">
          <ac:chgData name="Biradar, Shivasagar" userId="4b865266-c56a-491e-9f88-d9f07bb8d3d0" providerId="ADAL" clId="{F55E1132-77ED-1F41-B7D6-3009DD84E578}" dt="2024-04-18T04:07:38.815" v="628" actId="1076"/>
          <ac:spMkLst>
            <pc:docMk/>
            <pc:sldMk cId="328063575" sldId="5531"/>
            <ac:spMk id="17" creationId="{D5B088B3-A175-3163-E17A-0794470B26A9}"/>
          </ac:spMkLst>
        </pc:spChg>
        <pc:spChg chg="add mod">
          <ac:chgData name="Biradar, Shivasagar" userId="4b865266-c56a-491e-9f88-d9f07bb8d3d0" providerId="ADAL" clId="{F55E1132-77ED-1F41-B7D6-3009DD84E578}" dt="2024-04-18T04:49:18.023" v="641" actId="1076"/>
          <ac:spMkLst>
            <pc:docMk/>
            <pc:sldMk cId="328063575" sldId="5531"/>
            <ac:spMk id="18" creationId="{38998E48-6DBA-781F-6D99-A7D179039B1A}"/>
          </ac:spMkLst>
        </pc:spChg>
        <pc:spChg chg="add del mod">
          <ac:chgData name="Biradar, Shivasagar" userId="4b865266-c56a-491e-9f88-d9f07bb8d3d0" providerId="ADAL" clId="{F55E1132-77ED-1F41-B7D6-3009DD84E578}" dt="2024-04-18T04:47:44.865" v="637"/>
          <ac:spMkLst>
            <pc:docMk/>
            <pc:sldMk cId="328063575" sldId="5531"/>
            <ac:spMk id="19" creationId="{3DA9CD5E-938B-2F9E-EA6A-1EC6075BF2AD}"/>
          </ac:spMkLst>
        </pc:spChg>
        <pc:picChg chg="mod">
          <ac:chgData name="Biradar, Shivasagar" userId="4b865266-c56a-491e-9f88-d9f07bb8d3d0" providerId="ADAL" clId="{F55E1132-77ED-1F41-B7D6-3009DD84E578}" dt="2024-04-17T17:12:24.706" v="601" actId="1076"/>
          <ac:picMkLst>
            <pc:docMk/>
            <pc:sldMk cId="328063575" sldId="5531"/>
            <ac:picMk id="3" creationId="{C2C30685-7E59-5BA9-B8CA-2AEFAD65E796}"/>
          </ac:picMkLst>
        </pc:picChg>
        <pc:cxnChg chg="add mod">
          <ac:chgData name="Biradar, Shivasagar" userId="4b865266-c56a-491e-9f88-d9f07bb8d3d0" providerId="ADAL" clId="{F55E1132-77ED-1F41-B7D6-3009DD84E578}" dt="2024-04-17T17:11:34.542" v="589" actId="1076"/>
          <ac:cxnSpMkLst>
            <pc:docMk/>
            <pc:sldMk cId="328063575" sldId="5531"/>
            <ac:cxnSpMk id="7" creationId="{8E5A85F9-6ED8-C933-5624-619046ECBA2C}"/>
          </ac:cxnSpMkLst>
        </pc:cxnChg>
        <pc:cxnChg chg="add mod">
          <ac:chgData name="Biradar, Shivasagar" userId="4b865266-c56a-491e-9f88-d9f07bb8d3d0" providerId="ADAL" clId="{F55E1132-77ED-1F41-B7D6-3009DD84E578}" dt="2024-04-17T17:11:34.542" v="589" actId="1076"/>
          <ac:cxnSpMkLst>
            <pc:docMk/>
            <pc:sldMk cId="328063575" sldId="5531"/>
            <ac:cxnSpMk id="9" creationId="{BB2382CC-CD84-B283-589F-DD7C3FCF1EBE}"/>
          </ac:cxnSpMkLst>
        </pc:cxnChg>
        <pc:cxnChg chg="add mod">
          <ac:chgData name="Biradar, Shivasagar" userId="4b865266-c56a-491e-9f88-d9f07bb8d3d0" providerId="ADAL" clId="{F55E1132-77ED-1F41-B7D6-3009DD84E578}" dt="2024-04-17T17:11:34.542" v="589" actId="1076"/>
          <ac:cxnSpMkLst>
            <pc:docMk/>
            <pc:sldMk cId="328063575" sldId="5531"/>
            <ac:cxnSpMk id="14" creationId="{3BC3383B-6343-6615-9285-F1E5D6C7FAA3}"/>
          </ac:cxnSpMkLst>
        </pc:cxnChg>
      </pc:sldChg>
      <pc:sldChg chg="addSp modSp mod">
        <pc:chgData name="Biradar, Shivasagar" userId="4b865266-c56a-491e-9f88-d9f07bb8d3d0" providerId="ADAL" clId="{F55E1132-77ED-1F41-B7D6-3009DD84E578}" dt="2024-04-18T06:14:31.267" v="776" actId="1076"/>
        <pc:sldMkLst>
          <pc:docMk/>
          <pc:sldMk cId="1301748217" sldId="12940"/>
        </pc:sldMkLst>
        <pc:spChg chg="mod">
          <ac:chgData name="Biradar, Shivasagar" userId="4b865266-c56a-491e-9f88-d9f07bb8d3d0" providerId="ADAL" clId="{F55E1132-77ED-1F41-B7D6-3009DD84E578}" dt="2024-04-18T05:13:14.208" v="668"/>
          <ac:spMkLst>
            <pc:docMk/>
            <pc:sldMk cId="1301748217" sldId="12940"/>
            <ac:spMk id="2" creationId="{7ED69F31-BF85-614E-9D06-00989F090129}"/>
          </ac:spMkLst>
        </pc:spChg>
        <pc:spChg chg="mod">
          <ac:chgData name="Biradar, Shivasagar" userId="4b865266-c56a-491e-9f88-d9f07bb8d3d0" providerId="ADAL" clId="{F55E1132-77ED-1F41-B7D6-3009DD84E578}" dt="2024-04-18T06:14:17.364" v="775" actId="1076"/>
          <ac:spMkLst>
            <pc:docMk/>
            <pc:sldMk cId="1301748217" sldId="12940"/>
            <ac:spMk id="4" creationId="{CFB04FF8-B929-4748-9589-E255E8850004}"/>
          </ac:spMkLst>
        </pc:spChg>
        <pc:spChg chg="mod">
          <ac:chgData name="Biradar, Shivasagar" userId="4b865266-c56a-491e-9f88-d9f07bb8d3d0" providerId="ADAL" clId="{F55E1132-77ED-1F41-B7D6-3009DD84E578}" dt="2024-04-18T06:14:17.364" v="775" actId="1076"/>
          <ac:spMkLst>
            <pc:docMk/>
            <pc:sldMk cId="1301748217" sldId="12940"/>
            <ac:spMk id="5" creationId="{BF2BC29B-E942-CAF1-98BE-9A4AF76BC314}"/>
          </ac:spMkLst>
        </pc:spChg>
        <pc:spChg chg="mod">
          <ac:chgData name="Biradar, Shivasagar" userId="4b865266-c56a-491e-9f88-d9f07bb8d3d0" providerId="ADAL" clId="{F55E1132-77ED-1F41-B7D6-3009DD84E578}" dt="2024-04-18T06:14:17.364" v="775" actId="1076"/>
          <ac:spMkLst>
            <pc:docMk/>
            <pc:sldMk cId="1301748217" sldId="12940"/>
            <ac:spMk id="6" creationId="{0FF7609F-77FE-FE22-9513-16F9232C3244}"/>
          </ac:spMkLst>
        </pc:spChg>
        <pc:spChg chg="add mod">
          <ac:chgData name="Biradar, Shivasagar" userId="4b865266-c56a-491e-9f88-d9f07bb8d3d0" providerId="ADAL" clId="{F55E1132-77ED-1F41-B7D6-3009DD84E578}" dt="2024-04-18T06:14:31.267" v="776" actId="1076"/>
          <ac:spMkLst>
            <pc:docMk/>
            <pc:sldMk cId="1301748217" sldId="12940"/>
            <ac:spMk id="8" creationId="{F585696D-98E3-EE9B-6CA4-07063E39E814}"/>
          </ac:spMkLst>
        </pc:spChg>
        <pc:spChg chg="mod">
          <ac:chgData name="Biradar, Shivasagar" userId="4b865266-c56a-491e-9f88-d9f07bb8d3d0" providerId="ADAL" clId="{F55E1132-77ED-1F41-B7D6-3009DD84E578}" dt="2024-04-18T06:14:17.364" v="775" actId="1076"/>
          <ac:spMkLst>
            <pc:docMk/>
            <pc:sldMk cId="1301748217" sldId="12940"/>
            <ac:spMk id="10" creationId="{204C60D9-04D3-9513-2570-DCC34EE13C4A}"/>
          </ac:spMkLst>
        </pc:spChg>
        <pc:spChg chg="mod">
          <ac:chgData name="Biradar, Shivasagar" userId="4b865266-c56a-491e-9f88-d9f07bb8d3d0" providerId="ADAL" clId="{F55E1132-77ED-1F41-B7D6-3009DD84E578}" dt="2024-04-18T06:14:17.364" v="775" actId="1076"/>
          <ac:spMkLst>
            <pc:docMk/>
            <pc:sldMk cId="1301748217" sldId="12940"/>
            <ac:spMk id="11" creationId="{70170617-010E-0C47-B0F1-96C64BD00CED}"/>
          </ac:spMkLst>
        </pc:spChg>
        <pc:spChg chg="add mod">
          <ac:chgData name="Biradar, Shivasagar" userId="4b865266-c56a-491e-9f88-d9f07bb8d3d0" providerId="ADAL" clId="{F55E1132-77ED-1F41-B7D6-3009DD84E578}" dt="2024-04-18T05:11:59.460" v="665" actId="1076"/>
          <ac:spMkLst>
            <pc:docMk/>
            <pc:sldMk cId="1301748217" sldId="12940"/>
            <ac:spMk id="12" creationId="{8A92DE6A-0973-7A31-D144-B17FCC69E204}"/>
          </ac:spMkLst>
        </pc:spChg>
        <pc:spChg chg="mod">
          <ac:chgData name="Biradar, Shivasagar" userId="4b865266-c56a-491e-9f88-d9f07bb8d3d0" providerId="ADAL" clId="{F55E1132-77ED-1F41-B7D6-3009DD84E578}" dt="2024-04-18T06:14:17.364" v="775" actId="1076"/>
          <ac:spMkLst>
            <pc:docMk/>
            <pc:sldMk cId="1301748217" sldId="12940"/>
            <ac:spMk id="13" creationId="{28D79B39-377A-C1DE-9506-C4D790F708E0}"/>
          </ac:spMkLst>
        </pc:spChg>
        <pc:spChg chg="mod">
          <ac:chgData name="Biradar, Shivasagar" userId="4b865266-c56a-491e-9f88-d9f07bb8d3d0" providerId="ADAL" clId="{F55E1132-77ED-1F41-B7D6-3009DD84E578}" dt="2024-04-18T06:14:17.364" v="775" actId="1076"/>
          <ac:spMkLst>
            <pc:docMk/>
            <pc:sldMk cId="1301748217" sldId="12940"/>
            <ac:spMk id="14" creationId="{491EBFCA-66C0-2A1C-1A2E-EC2C523D92C2}"/>
          </ac:spMkLst>
        </pc:spChg>
        <pc:spChg chg="add mod">
          <ac:chgData name="Biradar, Shivasagar" userId="4b865266-c56a-491e-9f88-d9f07bb8d3d0" providerId="ADAL" clId="{F55E1132-77ED-1F41-B7D6-3009DD84E578}" dt="2024-04-18T06:14:17.364" v="775" actId="1076"/>
          <ac:spMkLst>
            <pc:docMk/>
            <pc:sldMk cId="1301748217" sldId="12940"/>
            <ac:spMk id="16" creationId="{E51B84AE-6858-480C-6902-4B9064928F77}"/>
          </ac:spMkLst>
        </pc:spChg>
        <pc:spChg chg="add mod">
          <ac:chgData name="Biradar, Shivasagar" userId="4b865266-c56a-491e-9f88-d9f07bb8d3d0" providerId="ADAL" clId="{F55E1132-77ED-1F41-B7D6-3009DD84E578}" dt="2024-04-18T06:14:17.364" v="775" actId="1076"/>
          <ac:spMkLst>
            <pc:docMk/>
            <pc:sldMk cId="1301748217" sldId="12940"/>
            <ac:spMk id="18" creationId="{ACD15B50-204E-73AA-E252-D05DC7318FCD}"/>
          </ac:spMkLst>
        </pc:spChg>
        <pc:spChg chg="add mod">
          <ac:chgData name="Biradar, Shivasagar" userId="4b865266-c56a-491e-9f88-d9f07bb8d3d0" providerId="ADAL" clId="{F55E1132-77ED-1F41-B7D6-3009DD84E578}" dt="2024-04-18T06:14:17.364" v="775" actId="1076"/>
          <ac:spMkLst>
            <pc:docMk/>
            <pc:sldMk cId="1301748217" sldId="12940"/>
            <ac:spMk id="20" creationId="{18494389-509C-A722-C7B0-CF9A83A361EA}"/>
          </ac:spMkLst>
        </pc:spChg>
        <pc:picChg chg="mod">
          <ac:chgData name="Biradar, Shivasagar" userId="4b865266-c56a-491e-9f88-d9f07bb8d3d0" providerId="ADAL" clId="{F55E1132-77ED-1F41-B7D6-3009DD84E578}" dt="2024-04-18T06:14:17.364" v="775" actId="1076"/>
          <ac:picMkLst>
            <pc:docMk/>
            <pc:sldMk cId="1301748217" sldId="12940"/>
            <ac:picMk id="3" creationId="{E2EF7A43-BC8B-92DA-1D96-8DC3CDCA968F}"/>
          </ac:picMkLst>
        </pc:picChg>
        <pc:cxnChg chg="add mod">
          <ac:chgData name="Biradar, Shivasagar" userId="4b865266-c56a-491e-9f88-d9f07bb8d3d0" providerId="ADAL" clId="{F55E1132-77ED-1F41-B7D6-3009DD84E578}" dt="2024-04-18T06:14:17.364" v="775" actId="1076"/>
          <ac:cxnSpMkLst>
            <pc:docMk/>
            <pc:sldMk cId="1301748217" sldId="12940"/>
            <ac:cxnSpMk id="15" creationId="{9F063022-598B-CBA5-8FFC-04DF23F15F44}"/>
          </ac:cxnSpMkLst>
        </pc:cxnChg>
        <pc:cxnChg chg="add mod">
          <ac:chgData name="Biradar, Shivasagar" userId="4b865266-c56a-491e-9f88-d9f07bb8d3d0" providerId="ADAL" clId="{F55E1132-77ED-1F41-B7D6-3009DD84E578}" dt="2024-04-18T06:14:17.364" v="775" actId="1076"/>
          <ac:cxnSpMkLst>
            <pc:docMk/>
            <pc:sldMk cId="1301748217" sldId="12940"/>
            <ac:cxnSpMk id="17" creationId="{4D3E30FC-F3EC-5F85-B49A-DB4F81B6B9DC}"/>
          </ac:cxnSpMkLst>
        </pc:cxnChg>
        <pc:cxnChg chg="add mod">
          <ac:chgData name="Biradar, Shivasagar" userId="4b865266-c56a-491e-9f88-d9f07bb8d3d0" providerId="ADAL" clId="{F55E1132-77ED-1F41-B7D6-3009DD84E578}" dt="2024-04-18T06:14:17.364" v="775" actId="1076"/>
          <ac:cxnSpMkLst>
            <pc:docMk/>
            <pc:sldMk cId="1301748217" sldId="12940"/>
            <ac:cxnSpMk id="19" creationId="{857F6EDC-32CD-F5C7-6C8C-14F93BC5EAAA}"/>
          </ac:cxnSpMkLst>
        </pc:cxnChg>
      </pc:sldChg>
      <pc:sldChg chg="addSp modSp mod modNotesTx">
        <pc:chgData name="Biradar, Shivasagar" userId="4b865266-c56a-491e-9f88-d9f07bb8d3d0" providerId="ADAL" clId="{F55E1132-77ED-1F41-B7D6-3009DD84E578}" dt="2024-04-18T05:38:15.546" v="701" actId="115"/>
        <pc:sldMkLst>
          <pc:docMk/>
          <pc:sldMk cId="1670111909" sldId="12941"/>
        </pc:sldMkLst>
        <pc:spChg chg="mod">
          <ac:chgData name="Biradar, Shivasagar" userId="4b865266-c56a-491e-9f88-d9f07bb8d3d0" providerId="ADAL" clId="{F55E1132-77ED-1F41-B7D6-3009DD84E578}" dt="2024-04-17T14:03:38.260" v="488"/>
          <ac:spMkLst>
            <pc:docMk/>
            <pc:sldMk cId="1670111909" sldId="12941"/>
            <ac:spMk id="2" creationId="{7ED69F31-BF85-614E-9D06-00989F090129}"/>
          </ac:spMkLst>
        </pc:spChg>
        <pc:spChg chg="mod">
          <ac:chgData name="Biradar, Shivasagar" userId="4b865266-c56a-491e-9f88-d9f07bb8d3d0" providerId="ADAL" clId="{F55E1132-77ED-1F41-B7D6-3009DD84E578}" dt="2024-04-17T14:05:15.947" v="499" actId="1076"/>
          <ac:spMkLst>
            <pc:docMk/>
            <pc:sldMk cId="1670111909" sldId="12941"/>
            <ac:spMk id="4" creationId="{DD559F46-ED8C-F3A5-F40F-4E56D5292941}"/>
          </ac:spMkLst>
        </pc:spChg>
        <pc:spChg chg="mod">
          <ac:chgData name="Biradar, Shivasagar" userId="4b865266-c56a-491e-9f88-d9f07bb8d3d0" providerId="ADAL" clId="{F55E1132-77ED-1F41-B7D6-3009DD84E578}" dt="2024-04-17T14:05:15.947" v="499" actId="1076"/>
          <ac:spMkLst>
            <pc:docMk/>
            <pc:sldMk cId="1670111909" sldId="12941"/>
            <ac:spMk id="5" creationId="{ABB3ED32-F5C9-73F4-70E4-4DAEC3417CE8}"/>
          </ac:spMkLst>
        </pc:spChg>
        <pc:spChg chg="mod">
          <ac:chgData name="Biradar, Shivasagar" userId="4b865266-c56a-491e-9f88-d9f07bb8d3d0" providerId="ADAL" clId="{F55E1132-77ED-1F41-B7D6-3009DD84E578}" dt="2024-04-17T14:05:15.947" v="499" actId="1076"/>
          <ac:spMkLst>
            <pc:docMk/>
            <pc:sldMk cId="1670111909" sldId="12941"/>
            <ac:spMk id="6" creationId="{A57D2B75-3B56-0033-19B5-B8327C7BB5BE}"/>
          </ac:spMkLst>
        </pc:spChg>
        <pc:spChg chg="mod">
          <ac:chgData name="Biradar, Shivasagar" userId="4b865266-c56a-491e-9f88-d9f07bb8d3d0" providerId="ADAL" clId="{F55E1132-77ED-1F41-B7D6-3009DD84E578}" dt="2024-04-17T14:05:15.947" v="499" actId="1076"/>
          <ac:spMkLst>
            <pc:docMk/>
            <pc:sldMk cId="1670111909" sldId="12941"/>
            <ac:spMk id="10" creationId="{E73D0E7E-7E37-8422-AC2E-3102CD9BE376}"/>
          </ac:spMkLst>
        </pc:spChg>
        <pc:spChg chg="mod">
          <ac:chgData name="Biradar, Shivasagar" userId="4b865266-c56a-491e-9f88-d9f07bb8d3d0" providerId="ADAL" clId="{F55E1132-77ED-1F41-B7D6-3009DD84E578}" dt="2024-04-17T14:05:15.947" v="499" actId="1076"/>
          <ac:spMkLst>
            <pc:docMk/>
            <pc:sldMk cId="1670111909" sldId="12941"/>
            <ac:spMk id="11" creationId="{7AA95DB2-B1F7-25BC-D5B7-A2843063B0BC}"/>
          </ac:spMkLst>
        </pc:spChg>
        <pc:spChg chg="add mod">
          <ac:chgData name="Biradar, Shivasagar" userId="4b865266-c56a-491e-9f88-d9f07bb8d3d0" providerId="ADAL" clId="{F55E1132-77ED-1F41-B7D6-3009DD84E578}" dt="2024-04-17T14:50:52.288" v="553" actId="1076"/>
          <ac:spMkLst>
            <pc:docMk/>
            <pc:sldMk cId="1670111909" sldId="12941"/>
            <ac:spMk id="12" creationId="{F7697FE4-8A03-3E25-0436-D179B7505037}"/>
          </ac:spMkLst>
        </pc:spChg>
        <pc:spChg chg="mod">
          <ac:chgData name="Biradar, Shivasagar" userId="4b865266-c56a-491e-9f88-d9f07bb8d3d0" providerId="ADAL" clId="{F55E1132-77ED-1F41-B7D6-3009DD84E578}" dt="2024-04-17T14:05:15.947" v="499" actId="1076"/>
          <ac:spMkLst>
            <pc:docMk/>
            <pc:sldMk cId="1670111909" sldId="12941"/>
            <ac:spMk id="13" creationId="{F1DA1DB8-AF11-95C3-1358-E74821CCFA34}"/>
          </ac:spMkLst>
        </pc:spChg>
        <pc:spChg chg="add mod">
          <ac:chgData name="Biradar, Shivasagar" userId="4b865266-c56a-491e-9f88-d9f07bb8d3d0" providerId="ADAL" clId="{F55E1132-77ED-1F41-B7D6-3009DD84E578}" dt="2024-04-17T14:50:52.288" v="553" actId="1076"/>
          <ac:spMkLst>
            <pc:docMk/>
            <pc:sldMk cId="1670111909" sldId="12941"/>
            <ac:spMk id="14" creationId="{CC28376F-663D-48D9-01D9-E7D5AB0CCFCA}"/>
          </ac:spMkLst>
        </pc:spChg>
        <pc:spChg chg="add mod">
          <ac:chgData name="Biradar, Shivasagar" userId="4b865266-c56a-491e-9f88-d9f07bb8d3d0" providerId="ADAL" clId="{F55E1132-77ED-1F41-B7D6-3009DD84E578}" dt="2024-04-17T14:50:52.288" v="553" actId="1076"/>
          <ac:spMkLst>
            <pc:docMk/>
            <pc:sldMk cId="1670111909" sldId="12941"/>
            <ac:spMk id="15" creationId="{44955A0C-8E68-EEFE-5DB8-6B714AACAAFE}"/>
          </ac:spMkLst>
        </pc:spChg>
        <pc:spChg chg="add mod">
          <ac:chgData name="Biradar, Shivasagar" userId="4b865266-c56a-491e-9f88-d9f07bb8d3d0" providerId="ADAL" clId="{F55E1132-77ED-1F41-B7D6-3009DD84E578}" dt="2024-04-17T14:37:58.502" v="552" actId="20577"/>
          <ac:spMkLst>
            <pc:docMk/>
            <pc:sldMk cId="1670111909" sldId="12941"/>
            <ac:spMk id="16" creationId="{60F20C32-EB19-0E12-D550-0E466685A304}"/>
          </ac:spMkLst>
        </pc:spChg>
        <pc:spChg chg="add mod">
          <ac:chgData name="Biradar, Shivasagar" userId="4b865266-c56a-491e-9f88-d9f07bb8d3d0" providerId="ADAL" clId="{F55E1132-77ED-1F41-B7D6-3009DD84E578}" dt="2024-04-18T04:49:05.419" v="640" actId="14100"/>
          <ac:spMkLst>
            <pc:docMk/>
            <pc:sldMk cId="1670111909" sldId="12941"/>
            <ac:spMk id="17" creationId="{F3C11764-F32A-EF26-BE74-2F34651D39F3}"/>
          </ac:spMkLst>
        </pc:spChg>
        <pc:picChg chg="mod">
          <ac:chgData name="Biradar, Shivasagar" userId="4b865266-c56a-491e-9f88-d9f07bb8d3d0" providerId="ADAL" clId="{F55E1132-77ED-1F41-B7D6-3009DD84E578}" dt="2024-04-17T14:50:52.288" v="553" actId="1076"/>
          <ac:picMkLst>
            <pc:docMk/>
            <pc:sldMk cId="1670111909" sldId="12941"/>
            <ac:picMk id="3" creationId="{8F4A84A4-E588-4343-51B8-DB75DB78EC3E}"/>
          </ac:picMkLst>
        </pc:picChg>
        <pc:cxnChg chg="add mod">
          <ac:chgData name="Biradar, Shivasagar" userId="4b865266-c56a-491e-9f88-d9f07bb8d3d0" providerId="ADAL" clId="{F55E1132-77ED-1F41-B7D6-3009DD84E578}" dt="2024-04-17T14:50:52.288" v="553" actId="1076"/>
          <ac:cxnSpMkLst>
            <pc:docMk/>
            <pc:sldMk cId="1670111909" sldId="12941"/>
            <ac:cxnSpMk id="7" creationId="{3389ACAF-585A-553B-9053-D083F420A7F0}"/>
          </ac:cxnSpMkLst>
        </pc:cxnChg>
        <pc:cxnChg chg="add mod">
          <ac:chgData name="Biradar, Shivasagar" userId="4b865266-c56a-491e-9f88-d9f07bb8d3d0" providerId="ADAL" clId="{F55E1132-77ED-1F41-B7D6-3009DD84E578}" dt="2024-04-17T14:50:52.288" v="553" actId="1076"/>
          <ac:cxnSpMkLst>
            <pc:docMk/>
            <pc:sldMk cId="1670111909" sldId="12941"/>
            <ac:cxnSpMk id="8" creationId="{7E8695B8-B661-78F6-FA7A-7413573D377F}"/>
          </ac:cxnSpMkLst>
        </pc:cxnChg>
        <pc:cxnChg chg="add mod">
          <ac:chgData name="Biradar, Shivasagar" userId="4b865266-c56a-491e-9f88-d9f07bb8d3d0" providerId="ADAL" clId="{F55E1132-77ED-1F41-B7D6-3009DD84E578}" dt="2024-04-17T14:50:52.288" v="553" actId="1076"/>
          <ac:cxnSpMkLst>
            <pc:docMk/>
            <pc:sldMk cId="1670111909" sldId="12941"/>
            <ac:cxnSpMk id="9" creationId="{1CFF00AB-F287-E9A8-BD22-93ADBEEAB64C}"/>
          </ac:cxnSpMkLst>
        </pc:cxnChg>
      </pc:sldChg>
      <pc:sldChg chg="modSp new del mod">
        <pc:chgData name="Biradar, Shivasagar" userId="4b865266-c56a-491e-9f88-d9f07bb8d3d0" providerId="ADAL" clId="{F55E1132-77ED-1F41-B7D6-3009DD84E578}" dt="2024-04-17T12:36:37.360" v="25" actId="2696"/>
        <pc:sldMkLst>
          <pc:docMk/>
          <pc:sldMk cId="2949498577" sldId="12942"/>
        </pc:sldMkLst>
        <pc:spChg chg="mod">
          <ac:chgData name="Biradar, Shivasagar" userId="4b865266-c56a-491e-9f88-d9f07bb8d3d0" providerId="ADAL" clId="{F55E1132-77ED-1F41-B7D6-3009DD84E578}" dt="2024-04-17T12:36:34.696" v="24" actId="20577"/>
          <ac:spMkLst>
            <pc:docMk/>
            <pc:sldMk cId="2949498577" sldId="12942"/>
            <ac:spMk id="2" creationId="{0913E2CE-5554-4832-7BEB-8CDB30F6B9CD}"/>
          </ac:spMkLst>
        </pc:spChg>
        <pc:spChg chg="mod">
          <ac:chgData name="Biradar, Shivasagar" userId="4b865266-c56a-491e-9f88-d9f07bb8d3d0" providerId="ADAL" clId="{F55E1132-77ED-1F41-B7D6-3009DD84E578}" dt="2024-04-17T12:36:25.407" v="13" actId="313"/>
          <ac:spMkLst>
            <pc:docMk/>
            <pc:sldMk cId="2949498577" sldId="12942"/>
            <ac:spMk id="3" creationId="{816E5154-0B75-7C50-A37E-D12B94871EDA}"/>
          </ac:spMkLst>
        </pc:spChg>
      </pc:sldChg>
      <pc:sldChg chg="addSp modSp new mod">
        <pc:chgData name="Biradar, Shivasagar" userId="4b865266-c56a-491e-9f88-d9f07bb8d3d0" providerId="ADAL" clId="{F55E1132-77ED-1F41-B7D6-3009DD84E578}" dt="2024-04-18T07:46:06.449" v="814" actId="20577"/>
        <pc:sldMkLst>
          <pc:docMk/>
          <pc:sldMk cId="3372285431" sldId="12942"/>
        </pc:sldMkLst>
        <pc:spChg chg="mod">
          <ac:chgData name="Biradar, Shivasagar" userId="4b865266-c56a-491e-9f88-d9f07bb8d3d0" providerId="ADAL" clId="{F55E1132-77ED-1F41-B7D6-3009DD84E578}" dt="2024-04-17T12:57:44.222" v="190"/>
          <ac:spMkLst>
            <pc:docMk/>
            <pc:sldMk cId="3372285431" sldId="12942"/>
            <ac:spMk id="2" creationId="{1F6BEC8E-8D97-4B53-CD15-094B614F388C}"/>
          </ac:spMkLst>
        </pc:spChg>
        <pc:spChg chg="add mod">
          <ac:chgData name="Biradar, Shivasagar" userId="4b865266-c56a-491e-9f88-d9f07bb8d3d0" providerId="ADAL" clId="{F55E1132-77ED-1F41-B7D6-3009DD84E578}" dt="2024-04-18T07:46:06.449" v="814" actId="20577"/>
          <ac:spMkLst>
            <pc:docMk/>
            <pc:sldMk cId="3372285431" sldId="12942"/>
            <ac:spMk id="4" creationId="{39EE27DB-220F-8FF3-2CD6-7BA1A4CA6E8B}"/>
          </ac:spMkLst>
        </pc:spChg>
        <pc:spChg chg="add mod">
          <ac:chgData name="Biradar, Shivasagar" userId="4b865266-c56a-491e-9f88-d9f07bb8d3d0" providerId="ADAL" clId="{F55E1132-77ED-1F41-B7D6-3009DD84E578}" dt="2024-04-18T06:04:18.545" v="774" actId="5793"/>
          <ac:spMkLst>
            <pc:docMk/>
            <pc:sldMk cId="3372285431" sldId="12942"/>
            <ac:spMk id="5" creationId="{B3C0D760-2449-65D7-7C58-C9495AEBBC66}"/>
          </ac:spMkLst>
        </pc:spChg>
      </pc:sldChg>
    </pc:docChg>
  </pc:docChgLst>
  <pc:docChgLst>
    <pc:chgData name="Kamboj, Sandeep" userId="S::skamboj@in.imshealth.com::b1434cc5-997d-4115-b984-843629191137" providerId="AD" clId="Web-{E65B60CA-4C81-4177-8D1B-63B1215EEB60}"/>
    <pc:docChg chg="modSld">
      <pc:chgData name="Kamboj, Sandeep" userId="S::skamboj@in.imshealth.com::b1434cc5-997d-4115-b984-843629191137" providerId="AD" clId="Web-{E65B60CA-4C81-4177-8D1B-63B1215EEB60}" dt="2024-06-27T07:19:05.891" v="41" actId="20577"/>
      <pc:docMkLst>
        <pc:docMk/>
      </pc:docMkLst>
      <pc:sldChg chg="modSp">
        <pc:chgData name="Kamboj, Sandeep" userId="S::skamboj@in.imshealth.com::b1434cc5-997d-4115-b984-843629191137" providerId="AD" clId="Web-{E65B60CA-4C81-4177-8D1B-63B1215EEB60}" dt="2024-06-27T07:19:05.891" v="41" actId="20577"/>
        <pc:sldMkLst>
          <pc:docMk/>
          <pc:sldMk cId="3372285431" sldId="12942"/>
        </pc:sldMkLst>
        <pc:spChg chg="mod">
          <ac:chgData name="Kamboj, Sandeep" userId="S::skamboj@in.imshealth.com::b1434cc5-997d-4115-b984-843629191137" providerId="AD" clId="Web-{E65B60CA-4C81-4177-8D1B-63B1215EEB60}" dt="2024-06-27T07:19:05.891" v="41" actId="20577"/>
          <ac:spMkLst>
            <pc:docMk/>
            <pc:sldMk cId="3372285431" sldId="12942"/>
            <ac:spMk id="2" creationId="{1F6BEC8E-8D97-4B53-CD15-094B614F388C}"/>
          </ac:spMkLst>
        </pc:spChg>
        <pc:spChg chg="mod">
          <ac:chgData name="Kamboj, Sandeep" userId="S::skamboj@in.imshealth.com::b1434cc5-997d-4115-b984-843629191137" providerId="AD" clId="Web-{E65B60CA-4C81-4177-8D1B-63B1215EEB60}" dt="2024-06-27T07:18:54.359" v="40" actId="14100"/>
          <ac:spMkLst>
            <pc:docMk/>
            <pc:sldMk cId="3372285431" sldId="12942"/>
            <ac:spMk id="4" creationId="{39EE27DB-220F-8FF3-2CD6-7BA1A4CA6E8B}"/>
          </ac:spMkLst>
        </pc:spChg>
        <pc:spChg chg="mod">
          <ac:chgData name="Kamboj, Sandeep" userId="S::skamboj@in.imshealth.com::b1434cc5-997d-4115-b984-843629191137" providerId="AD" clId="Web-{E65B60CA-4C81-4177-8D1B-63B1215EEB60}" dt="2024-06-27T07:18:31.202" v="33" actId="20577"/>
          <ac:spMkLst>
            <pc:docMk/>
            <pc:sldMk cId="3372285431" sldId="12942"/>
            <ac:spMk id="5" creationId="{B3C0D760-2449-65D7-7C58-C9495AEBBC66}"/>
          </ac:spMkLst>
        </pc:spChg>
      </pc:sldChg>
    </pc:docChg>
  </pc:docChgLst>
  <pc:docChgLst>
    <pc:chgData name="Kamboj, Sandeep" userId="S::skamboj@in.imshealth.com::b1434cc5-997d-4115-b984-843629191137" providerId="AD" clId="Web-{5B54DF11-BCC8-445E-8B20-BA50B0060C34}"/>
    <pc:docChg chg="modSld">
      <pc:chgData name="Kamboj, Sandeep" userId="S::skamboj@in.imshealth.com::b1434cc5-997d-4115-b984-843629191137" providerId="AD" clId="Web-{5B54DF11-BCC8-445E-8B20-BA50B0060C34}" dt="2024-06-04T07:04:24.359" v="14" actId="20577"/>
      <pc:docMkLst>
        <pc:docMk/>
      </pc:docMkLst>
      <pc:sldChg chg="modSp">
        <pc:chgData name="Kamboj, Sandeep" userId="S::skamboj@in.imshealth.com::b1434cc5-997d-4115-b984-843629191137" providerId="AD" clId="Web-{5B54DF11-BCC8-445E-8B20-BA50B0060C34}" dt="2024-06-04T07:04:24.359" v="14" actId="20577"/>
        <pc:sldMkLst>
          <pc:docMk/>
          <pc:sldMk cId="1301748217" sldId="12940"/>
        </pc:sldMkLst>
        <pc:spChg chg="mod">
          <ac:chgData name="Kamboj, Sandeep" userId="S::skamboj@in.imshealth.com::b1434cc5-997d-4115-b984-843629191137" providerId="AD" clId="Web-{5B54DF11-BCC8-445E-8B20-BA50B0060C34}" dt="2024-06-04T07:04:24.359" v="14" actId="20577"/>
          <ac:spMkLst>
            <pc:docMk/>
            <pc:sldMk cId="1301748217" sldId="12940"/>
            <ac:spMk id="14" creationId="{491EBFCA-66C0-2A1C-1A2E-EC2C523D92C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6/27/2024</a:t>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6/27/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business.linkedin.com/marketing-solutions/native-advertising/document-ads"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magicbrief.com/post/linkedin-document-ads" TargetMode="External"/><Relationship Id="rId4" Type="http://schemas.openxmlformats.org/officeDocument/2006/relationships/hyperlink" Target="https://surfsideppc.com/linkedin-document-ad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dirty="0"/>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dirty="0"/>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dirty="0"/>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11111"/>
                </a:solidFill>
                <a:effectLst/>
                <a:highlight>
                  <a:srgbClr val="FFFFFF"/>
                </a:highlight>
                <a:latin typeface="-apple-system"/>
              </a:rPr>
              <a:t>Single Image Ads on LinkedIn are useful for a variety of marketing objectives across the full funnel, from raising brand awareness to driving website conversions. Here are some scenarios where Single Image Ads can be particularly effective:</a:t>
            </a:r>
          </a:p>
          <a:p>
            <a:pPr algn="l">
              <a:buFont typeface="Arial" panose="020B0604020202020204" pitchFamily="34" charset="0"/>
              <a:buChar char="•"/>
            </a:pPr>
            <a:r>
              <a:rPr lang="en-IN" b="1" i="0" dirty="0">
                <a:solidFill>
                  <a:srgbClr val="111111"/>
                </a:solidFill>
                <a:effectLst/>
                <a:highlight>
                  <a:srgbClr val="FFFFFF"/>
                </a:highlight>
                <a:latin typeface="-apple-system"/>
              </a:rPr>
              <a:t>Brand Awareness</a:t>
            </a:r>
            <a:r>
              <a:rPr lang="en-IN" b="0" i="0" dirty="0">
                <a:solidFill>
                  <a:srgbClr val="111111"/>
                </a:solidFill>
                <a:effectLst/>
                <a:highlight>
                  <a:srgbClr val="FFFFFF"/>
                </a:highlight>
                <a:latin typeface="-apple-system"/>
              </a:rPr>
              <a:t>: When you want to introduce your brand to a new audience, a compelling image with a clear message can capture attention and make a memorable impression.</a:t>
            </a:r>
          </a:p>
          <a:p>
            <a:pPr algn="l">
              <a:buFont typeface="Arial" panose="020B0604020202020204" pitchFamily="34" charset="0"/>
              <a:buChar char="•"/>
            </a:pPr>
            <a:r>
              <a:rPr lang="en-IN" b="1" i="0" dirty="0">
                <a:solidFill>
                  <a:srgbClr val="111111"/>
                </a:solidFill>
                <a:effectLst/>
                <a:highlight>
                  <a:srgbClr val="FFFFFF"/>
                </a:highlight>
                <a:latin typeface="-apple-system"/>
              </a:rPr>
              <a:t>Website Visits</a:t>
            </a:r>
            <a:r>
              <a:rPr lang="en-IN" b="0" i="0" dirty="0">
                <a:solidFill>
                  <a:srgbClr val="111111"/>
                </a:solidFill>
                <a:effectLst/>
                <a:highlight>
                  <a:srgbClr val="FFFFFF"/>
                </a:highlight>
                <a:latin typeface="-apple-system"/>
              </a:rPr>
              <a:t>: If your goal is to drive traffic to your website, Single Image Ads with a strong call-to-action (CTA) can encourage professionals to click through and learn more about your offerings.</a:t>
            </a:r>
          </a:p>
          <a:p>
            <a:pPr algn="l">
              <a:buFont typeface="Arial" panose="020B0604020202020204" pitchFamily="34" charset="0"/>
              <a:buChar char="•"/>
            </a:pPr>
            <a:r>
              <a:rPr lang="en-IN" b="1" i="0" dirty="0">
                <a:solidFill>
                  <a:srgbClr val="111111"/>
                </a:solidFill>
                <a:effectLst/>
                <a:highlight>
                  <a:srgbClr val="FFFFFF"/>
                </a:highlight>
                <a:latin typeface="-apple-system"/>
              </a:rPr>
              <a:t>Engagement</a:t>
            </a:r>
            <a:r>
              <a:rPr lang="en-IN" b="0" i="0" dirty="0">
                <a:solidFill>
                  <a:srgbClr val="111111"/>
                </a:solidFill>
                <a:effectLst/>
                <a:highlight>
                  <a:srgbClr val="FFFFFF"/>
                </a:highlight>
                <a:latin typeface="-apple-system"/>
              </a:rPr>
              <a:t>: To foster interactions such as likes, comments, and shares, Single Image Ads with engaging content can prompt users to engage with your post.</a:t>
            </a:r>
          </a:p>
          <a:p>
            <a:pPr algn="l">
              <a:buFont typeface="Arial" panose="020B0604020202020204" pitchFamily="34" charset="0"/>
              <a:buChar char="•"/>
            </a:pPr>
            <a:r>
              <a:rPr lang="en-IN" b="1" i="0" dirty="0">
                <a:solidFill>
                  <a:srgbClr val="111111"/>
                </a:solidFill>
                <a:effectLst/>
                <a:highlight>
                  <a:srgbClr val="FFFFFF"/>
                </a:highlight>
                <a:latin typeface="-apple-system"/>
              </a:rPr>
              <a:t>Lead Generation</a:t>
            </a:r>
            <a:r>
              <a:rPr lang="en-IN" b="0" i="0" dirty="0">
                <a:solidFill>
                  <a:srgbClr val="111111"/>
                </a:solidFill>
                <a:effectLst/>
                <a:highlight>
                  <a:srgbClr val="FFFFFF"/>
                </a:highlight>
                <a:latin typeface="-apple-system"/>
              </a:rPr>
              <a:t>: By combining Single Image Ads with LinkedIn’s Lead Gen Forms, you can collect leads directly from the ad without requiring users to visit your site.</a:t>
            </a:r>
          </a:p>
          <a:p>
            <a:pPr algn="l">
              <a:buFont typeface="Arial" panose="020B0604020202020204" pitchFamily="34" charset="0"/>
              <a:buChar char="•"/>
            </a:pPr>
            <a:r>
              <a:rPr lang="en-IN" b="1" i="0" dirty="0">
                <a:solidFill>
                  <a:srgbClr val="111111"/>
                </a:solidFill>
                <a:effectLst/>
                <a:highlight>
                  <a:srgbClr val="FFFFFF"/>
                </a:highlight>
                <a:latin typeface="-apple-system"/>
              </a:rPr>
              <a:t>Website Conversions</a:t>
            </a:r>
            <a:r>
              <a:rPr lang="en-IN" b="0" i="0" dirty="0">
                <a:solidFill>
                  <a:srgbClr val="111111"/>
                </a:solidFill>
                <a:effectLst/>
                <a:highlight>
                  <a:srgbClr val="FFFFFF"/>
                </a:highlight>
                <a:latin typeface="-apple-system"/>
              </a:rPr>
              <a:t>: When you aim to convert prospects into customers, Single Image Ads can direct users to your landing pages where they can take actions like making a purchase or signing up for a servic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2</a:t>
            </a:fld>
            <a:endParaRPr lang="en-US"/>
          </a:p>
        </p:txBody>
      </p:sp>
    </p:spTree>
    <p:extLst>
      <p:ext uri="{BB962C8B-B14F-4D97-AF65-F5344CB8AC3E}">
        <p14:creationId xmlns:p14="http://schemas.microsoft.com/office/powerpoint/2010/main" val="470795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a:p>
            <a:r>
              <a:rPr lang="en-IN" dirty="0"/>
              <a:t>LinkedIn Document Ads are particularly useful when you want to share in-depth content such as whitepapers, e-books, reports, or presentations with a professional audience. They are best used in th</a:t>
            </a:r>
            <a:r>
              <a:rPr lang="en-IN" u="none" dirty="0"/>
              <a:t>e following scenarios:</a:t>
            </a:r>
          </a:p>
          <a:p>
            <a:pPr>
              <a:buFont typeface="+mj-lt"/>
              <a:buAutoNum type="arabicPeriod"/>
            </a:pPr>
            <a:r>
              <a:rPr lang="en-IN" b="1" u="none" dirty="0">
                <a:hlinkClick r:id="rId3"/>
              </a:rPr>
              <a:t>Brand Awareness</a:t>
            </a:r>
            <a:r>
              <a:rPr lang="en-IN" u="none" dirty="0">
                <a:hlinkClick r:id="rId3"/>
              </a:rPr>
              <a:t>: If you’re looking to build awareness and establish thought leadership, sharing valuable content freely through Document Ads can help you reach and educate your target audience</a:t>
            </a:r>
            <a:r>
              <a:rPr lang="en-IN" dirty="0"/>
              <a:t>.</a:t>
            </a:r>
          </a:p>
          <a:p>
            <a:pPr>
              <a:buFont typeface="+mj-lt"/>
              <a:buAutoNum type="arabicPeriod"/>
            </a:pPr>
            <a:r>
              <a:rPr lang="en-IN" b="1" dirty="0">
                <a:hlinkClick r:id="rId3"/>
              </a:rPr>
              <a:t>Engagement</a:t>
            </a:r>
            <a:r>
              <a:rPr lang="en-IN" dirty="0">
                <a:hlinkClick r:id="rId3"/>
              </a:rPr>
              <a:t>: When your goal is to engage with your audience and encourage them to interact with your content, Document Ads can provide a rich, full-screen experience that keeps users focused on your material</a:t>
            </a:r>
            <a:r>
              <a:rPr lang="en-IN" baseline="30000" dirty="0">
                <a:hlinkClick r:id="rId3"/>
              </a:rPr>
              <a:t>1</a:t>
            </a:r>
            <a:r>
              <a:rPr lang="en-IN" dirty="0"/>
              <a:t>.</a:t>
            </a:r>
          </a:p>
          <a:p>
            <a:pPr>
              <a:buFont typeface="+mj-lt"/>
              <a:buAutoNum type="arabicPeriod"/>
            </a:pPr>
            <a:r>
              <a:rPr lang="en-IN" b="1" dirty="0"/>
              <a:t>Lead Generation</a:t>
            </a:r>
            <a:r>
              <a:rPr lang="en-IN" dirty="0"/>
              <a:t>: If you aim to collect high-quality leads, you can gate your documents with a Lead Gen Form. </a:t>
            </a:r>
            <a:r>
              <a:rPr lang="en-IN" dirty="0">
                <a:hlinkClick r:id="rId3"/>
              </a:rPr>
              <a:t>This way, users can access your content in exchange for their contact information, which can be a powerful way to generate leads for your business</a:t>
            </a:r>
            <a:r>
              <a:rPr lang="en-IN" baseline="30000" dirty="0">
                <a:hlinkClick r:id="rId3"/>
              </a:rPr>
              <a:t>1</a:t>
            </a:r>
            <a:r>
              <a:rPr lang="en-IN" dirty="0"/>
              <a:t>.</a:t>
            </a:r>
          </a:p>
          <a:p>
            <a:pPr>
              <a:buFont typeface="+mj-lt"/>
              <a:buAutoNum type="arabicPeriod"/>
            </a:pPr>
            <a:r>
              <a:rPr lang="en-IN" b="1" dirty="0">
                <a:hlinkClick r:id="rId4"/>
              </a:rPr>
              <a:t>Educating Prospects</a:t>
            </a:r>
            <a:r>
              <a:rPr lang="en-IN" dirty="0">
                <a:hlinkClick r:id="rId4"/>
              </a:rPr>
              <a:t>: For B2B companies, agencies, or any brand with valuable insights to share, Document Ads can be a great way to captivate your audience by providing them with informative guides, industry reports, and comprehensive presentations</a:t>
            </a:r>
            <a:r>
              <a:rPr lang="en-IN" baseline="30000" dirty="0">
                <a:hlinkClick r:id="rId4"/>
              </a:rPr>
              <a:t>2</a:t>
            </a:r>
            <a:r>
              <a:rPr lang="en-IN" dirty="0"/>
              <a:t>.</a:t>
            </a:r>
          </a:p>
          <a:p>
            <a:pPr>
              <a:buFont typeface="+mj-lt"/>
              <a:buAutoNum type="arabicPeriod"/>
            </a:pPr>
            <a:r>
              <a:rPr lang="en-IN" b="1" dirty="0"/>
              <a:t>Content Promotion</a:t>
            </a:r>
            <a:r>
              <a:rPr lang="en-IN" dirty="0"/>
              <a:t>: When you have fantastic content that you believe will be helpful to your audience, Document Ads allow you to educate and engage without explicitly promoting your brand. </a:t>
            </a:r>
            <a:r>
              <a:rPr lang="en-IN" dirty="0">
                <a:hlinkClick r:id="rId3"/>
              </a:rPr>
              <a:t>The focus is on delivering value and knowledge</a:t>
            </a:r>
            <a:r>
              <a:rPr lang="en-IN" baseline="30000" dirty="0">
                <a:hlinkClick r:id="rId5"/>
              </a:rPr>
              <a:t>3</a:t>
            </a:r>
            <a:r>
              <a:rPr lang="en-IN" dirty="0"/>
              <a:t>.</a:t>
            </a:r>
          </a:p>
          <a:p>
            <a:r>
              <a:rPr lang="en-IN" dirty="0"/>
              <a:t>Overall, Document Ads are a versatile tool that can support various objectives within your LinkedIn marketing strategy. </a:t>
            </a:r>
            <a:r>
              <a:rPr lang="en-IN" dirty="0">
                <a:hlinkClick r:id="rId3"/>
              </a:rPr>
              <a:t>They are especially effective when you have content that is not only promotional but also educational and beneficial to your audience</a:t>
            </a:r>
            <a:r>
              <a:rPr lang="en-IN" baseline="30000" dirty="0">
                <a:hlinkClick r:id="rId3"/>
              </a:rPr>
              <a:t>1</a:t>
            </a:r>
            <a:r>
              <a:rPr lang="en-IN" baseline="30000" dirty="0">
                <a:hlinkClick r:id="rId4"/>
              </a:rPr>
              <a:t>2</a:t>
            </a:r>
            <a:r>
              <a:rPr lang="en-IN" baseline="30000" dirty="0">
                <a:hlinkClick r:id="rId5"/>
              </a:rPr>
              <a:t>3</a:t>
            </a:r>
            <a:r>
              <a:rPr lang="en-IN"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3</a:t>
            </a:fld>
            <a:endParaRPr lang="en-US"/>
          </a:p>
        </p:txBody>
      </p:sp>
    </p:spTree>
    <p:extLst>
      <p:ext uri="{BB962C8B-B14F-4D97-AF65-F5344CB8AC3E}">
        <p14:creationId xmlns:p14="http://schemas.microsoft.com/office/powerpoint/2010/main" val="2367284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dirty="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a:t>
            </a:r>
            <a:br>
              <a:rPr lang="en-US" dirty="0"/>
            </a:br>
            <a:r>
              <a:rPr lang="en-US" dirty="0"/>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dirty="0"/>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dirty="0"/>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dirty="0"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dirty="0"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dirty="0"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dirty="0"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dirty="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bg1">
                    <a:lumMod val="50000"/>
                  </a:schemeClr>
                </a:solidFill>
                <a:effectLst/>
                <a:latin typeface="+mn-lt"/>
                <a:ea typeface="+mn-ea"/>
                <a:cs typeface="+mn-cs"/>
              </a:rPr>
              <a:t>IQVIA Template (V3.0.0)</a:t>
            </a:r>
            <a:endParaRPr lang="en-US" sz="1000" kern="1200" dirty="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dirty="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dirty="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dirty="0"/>
                <a:t>5% Charcoal</a:t>
              </a:r>
              <a:endParaRPr lang="en-US" sz="600" dirty="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dirty="0"/>
                <a:t>Indigo</a:t>
              </a:r>
              <a:endParaRPr lang="en-US" sz="600" dirty="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dirty="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dirty="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dirty="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business.linkedin.com/marketing-solutions/success/ads-guide/document-ads" TargetMode="External"/><Relationship Id="rId2" Type="http://schemas.openxmlformats.org/officeDocument/2006/relationships/hyperlink" Target="https://business.linkedin.com/marketing-solutions/success/ads-guide/single-image-ads" TargetMode="External"/><Relationship Id="rId1" Type="http://schemas.openxmlformats.org/officeDocument/2006/relationships/slideLayout" Target="../slideLayouts/slideLayout15.xml"/><Relationship Id="rId5" Type="http://schemas.openxmlformats.org/officeDocument/2006/relationships/hyperlink" Target="https://business.linkedin.com/marketing-solutions/success/ads-guide/carousel-ads" TargetMode="External"/><Relationship Id="rId4" Type="http://schemas.openxmlformats.org/officeDocument/2006/relationships/hyperlink" Target="https://business.linkedin.com/marketing-solutions/success/ads-guide/video-ad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hyperlink" Target="https://business.linkedin.com/marketing-solutions/success/ads-guide/single-image-ad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business.linkedin.com/marketing-solutions/success/ads-guide/document-ad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business.linkedin.com/marketing-solutions/success/ads-guide/video-ads" TargetMode="External"/><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business.linkedin.com/marketing-solutions/success/ads-guide/carousel-ads" TargetMode="External"/><Relationship Id="rId2" Type="http://schemas.openxmlformats.org/officeDocument/2006/relationships/image" Target="../media/image18.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C5644-711A-25EC-9948-82810157AC73}"/>
              </a:ext>
            </a:extLst>
          </p:cNvPr>
          <p:cNvSpPr>
            <a:spLocks noGrp="1"/>
          </p:cNvSpPr>
          <p:nvPr>
            <p:ph type="ctrTitle"/>
          </p:nvPr>
        </p:nvSpPr>
        <p:spPr/>
        <p:txBody>
          <a:bodyPr/>
          <a:lstStyle/>
          <a:p>
            <a:r>
              <a:rPr lang="en-US" dirty="0"/>
              <a:t>LinkedIn intake template </a:t>
            </a:r>
          </a:p>
        </p:txBody>
      </p:sp>
    </p:spTree>
    <p:extLst>
      <p:ext uri="{BB962C8B-B14F-4D97-AF65-F5344CB8AC3E}">
        <p14:creationId xmlns:p14="http://schemas.microsoft.com/office/powerpoint/2010/main" val="213643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BEC8E-8D97-4B53-CD15-094B614F388C}"/>
              </a:ext>
            </a:extLst>
          </p:cNvPr>
          <p:cNvSpPr>
            <a:spLocks noGrp="1"/>
          </p:cNvSpPr>
          <p:nvPr>
            <p:ph type="title"/>
          </p:nvPr>
        </p:nvSpPr>
        <p:spPr/>
        <p:txBody>
          <a:bodyPr/>
          <a:lstStyle/>
          <a:p>
            <a:r>
              <a:rPr lang="en-IN" b="1" i="0" dirty="0">
                <a:solidFill>
                  <a:srgbClr val="111111"/>
                </a:solidFill>
                <a:effectLst/>
                <a:highlight>
                  <a:srgbClr val="FFFFFF"/>
                </a:highlight>
                <a:latin typeface="Arial"/>
                <a:cs typeface="Arial"/>
              </a:rPr>
              <a:t>Introduction to LinkedIn Ad Formats and Specifications</a:t>
            </a:r>
            <a:endParaRPr lang="en-US">
              <a:latin typeface="Arial"/>
              <a:cs typeface="Arial"/>
            </a:endParaRPr>
          </a:p>
        </p:txBody>
      </p:sp>
      <p:sp>
        <p:nvSpPr>
          <p:cNvPr id="3" name="Footer Placeholder 2">
            <a:extLst>
              <a:ext uri="{FF2B5EF4-FFF2-40B4-BE49-F238E27FC236}">
                <a16:creationId xmlns:a16="http://schemas.microsoft.com/office/drawing/2014/main" id="{16F86B8E-B392-C933-CC18-123C351CB6D8}"/>
              </a:ext>
            </a:extLst>
          </p:cNvPr>
          <p:cNvSpPr>
            <a:spLocks noGrp="1"/>
          </p:cNvSpPr>
          <p:nvPr>
            <p:ph type="ftr" sz="quarter" idx="3"/>
          </p:nvPr>
        </p:nvSpPr>
        <p:spPr/>
        <p:txBody>
          <a:bodyPr/>
          <a:lstStyle/>
          <a:p>
            <a:endParaRPr lang="en-US" dirty="0"/>
          </a:p>
        </p:txBody>
      </p:sp>
      <p:sp>
        <p:nvSpPr>
          <p:cNvPr id="4" name="TextBox 3">
            <a:extLst>
              <a:ext uri="{FF2B5EF4-FFF2-40B4-BE49-F238E27FC236}">
                <a16:creationId xmlns:a16="http://schemas.microsoft.com/office/drawing/2014/main" id="{39EE27DB-220F-8FF3-2CD6-7BA1A4CA6E8B}"/>
              </a:ext>
            </a:extLst>
          </p:cNvPr>
          <p:cNvSpPr txBox="1"/>
          <p:nvPr/>
        </p:nvSpPr>
        <p:spPr>
          <a:xfrm>
            <a:off x="776143" y="1415615"/>
            <a:ext cx="10643247" cy="1200329"/>
          </a:xfrm>
          <a:prstGeom prst="rect">
            <a:avLst/>
          </a:prstGeom>
          <a:noFill/>
        </p:spPr>
        <p:txBody>
          <a:bodyPr wrap="square" lIns="91440" tIns="45720" rIns="91440" bIns="45720" rtlCol="0" anchor="t">
            <a:spAutoFit/>
          </a:bodyPr>
          <a:lstStyle/>
          <a:p>
            <a:r>
              <a:rPr lang="en-IN" b="0" i="0" dirty="0">
                <a:solidFill>
                  <a:srgbClr val="111111"/>
                </a:solidFill>
                <a:effectLst/>
                <a:highlight>
                  <a:srgbClr val="FFFFFF"/>
                </a:highlight>
                <a:latin typeface="Arial"/>
                <a:cs typeface="Arial"/>
              </a:rPr>
              <a:t>Welcome to the definitive guide on LinkedIn Ad Formats and their specifications. In this presentation, we will navigate through the array of ad formats LinkedIn offers, each tailored to meet specific marketing goals and audience engagement. We’ll cover the </a:t>
            </a:r>
            <a:r>
              <a:rPr lang="en-IN" b="1" i="0" dirty="0">
                <a:solidFill>
                  <a:srgbClr val="111111"/>
                </a:solidFill>
                <a:effectLst/>
                <a:highlight>
                  <a:srgbClr val="FFFFFF"/>
                </a:highlight>
                <a:latin typeface="Arial"/>
                <a:cs typeface="Arial"/>
              </a:rPr>
              <a:t>Single Image Ad</a:t>
            </a:r>
            <a:r>
              <a:rPr lang="en-IN" b="1" dirty="0">
                <a:solidFill>
                  <a:srgbClr val="111111"/>
                </a:solidFill>
                <a:highlight>
                  <a:srgbClr val="FFFFFF"/>
                </a:highlight>
                <a:latin typeface="Arial"/>
                <a:cs typeface="Arial"/>
              </a:rPr>
              <a:t>, Document Ad, Video Ad, Carousel Ad</a:t>
            </a:r>
            <a:r>
              <a:rPr lang="en-IN" b="0" i="0" dirty="0">
                <a:solidFill>
                  <a:srgbClr val="111111"/>
                </a:solidFill>
                <a:effectLst/>
                <a:highlight>
                  <a:srgbClr val="FFFFFF"/>
                </a:highlight>
                <a:latin typeface="Arial"/>
                <a:cs typeface="Arial"/>
              </a:rPr>
              <a:t>, and more, detailing their design recommendations and best practices.</a:t>
            </a:r>
            <a:endParaRPr lang="en-US">
              <a:solidFill>
                <a:schemeClr val="tx2"/>
              </a:solidFill>
              <a:latin typeface="Arial"/>
              <a:cs typeface="Arial"/>
            </a:endParaRPr>
          </a:p>
        </p:txBody>
      </p:sp>
      <p:sp>
        <p:nvSpPr>
          <p:cNvPr id="5" name="TextBox 4">
            <a:extLst>
              <a:ext uri="{FF2B5EF4-FFF2-40B4-BE49-F238E27FC236}">
                <a16:creationId xmlns:a16="http://schemas.microsoft.com/office/drawing/2014/main" id="{B3C0D760-2449-65D7-7C58-C9495AEBBC66}"/>
              </a:ext>
            </a:extLst>
          </p:cNvPr>
          <p:cNvSpPr txBox="1"/>
          <p:nvPr/>
        </p:nvSpPr>
        <p:spPr>
          <a:xfrm>
            <a:off x="779767" y="2917371"/>
            <a:ext cx="2012089" cy="2800767"/>
          </a:xfrm>
          <a:prstGeom prst="rect">
            <a:avLst/>
          </a:prstGeom>
          <a:noFill/>
        </p:spPr>
        <p:txBody>
          <a:bodyPr wrap="none" lIns="91440" tIns="45720" rIns="91440" bIns="45720" rtlCol="0" anchor="t">
            <a:spAutoFit/>
          </a:bodyPr>
          <a:lstStyle/>
          <a:p>
            <a:endParaRPr lang="en-US" sz="1600" dirty="0">
              <a:solidFill>
                <a:srgbClr val="00B0F0"/>
              </a:solidFill>
              <a:cs typeface="Arial"/>
            </a:endParaRPr>
          </a:p>
          <a:p>
            <a:pPr marL="342900" indent="-342900">
              <a:buFont typeface="+mj-lt"/>
              <a:buAutoNum type="arabicPeriod"/>
            </a:pPr>
            <a:r>
              <a:rPr lang="en-US" sz="1600" dirty="0">
                <a:solidFill>
                  <a:srgbClr val="00B0F0"/>
                </a:solidFill>
                <a:hlinkClick r:id="rId2">
                  <a:extLst>
                    <a:ext uri="{A12FA001-AC4F-418D-AE19-62706E023703}">
                      <ahyp:hlinkClr xmlns:ahyp="http://schemas.microsoft.com/office/drawing/2018/hyperlinkcolor" val="tx"/>
                    </a:ext>
                  </a:extLst>
                </a:hlinkClick>
              </a:rPr>
              <a:t>Single Image ad</a:t>
            </a:r>
            <a:br>
              <a:rPr lang="en-US" sz="1600" dirty="0">
                <a:solidFill>
                  <a:srgbClr val="00B0F0"/>
                </a:solidFill>
              </a:rPr>
            </a:br>
            <a:endParaRPr lang="en-US" sz="1600" dirty="0">
              <a:solidFill>
                <a:srgbClr val="00B0F0"/>
              </a:solidFill>
              <a:cs typeface="Arial"/>
            </a:endParaRPr>
          </a:p>
          <a:p>
            <a:pPr marL="342900" indent="-342900">
              <a:buFont typeface="+mj-lt"/>
              <a:buAutoNum type="arabicPeriod"/>
            </a:pPr>
            <a:r>
              <a:rPr lang="en-US" sz="1600" dirty="0">
                <a:solidFill>
                  <a:srgbClr val="00B0F0"/>
                </a:solidFill>
                <a:hlinkClick r:id="rId3">
                  <a:extLst>
                    <a:ext uri="{A12FA001-AC4F-418D-AE19-62706E023703}">
                      <ahyp:hlinkClr xmlns:ahyp="http://schemas.microsoft.com/office/drawing/2018/hyperlinkcolor" val="tx"/>
                    </a:ext>
                  </a:extLst>
                </a:hlinkClick>
              </a:rPr>
              <a:t>Document ad</a:t>
            </a:r>
            <a:br>
              <a:rPr lang="en-US" sz="1600" dirty="0">
                <a:solidFill>
                  <a:srgbClr val="00B0F0"/>
                </a:solidFill>
              </a:rPr>
            </a:br>
            <a:endParaRPr lang="en-US" sz="1600" dirty="0">
              <a:solidFill>
                <a:srgbClr val="00B0F0"/>
              </a:solidFill>
              <a:cs typeface="Arial"/>
            </a:endParaRPr>
          </a:p>
          <a:p>
            <a:pPr marL="342900" indent="-342900">
              <a:buFont typeface="+mj-lt"/>
              <a:buAutoNum type="arabicPeriod"/>
            </a:pPr>
            <a:r>
              <a:rPr lang="en-US" sz="1600" dirty="0">
                <a:solidFill>
                  <a:srgbClr val="00B0F0"/>
                </a:solidFill>
                <a:hlinkClick r:id="rId4">
                  <a:extLst>
                    <a:ext uri="{A12FA001-AC4F-418D-AE19-62706E023703}">
                      <ahyp:hlinkClr xmlns:ahyp="http://schemas.microsoft.com/office/drawing/2018/hyperlinkcolor" val="tx"/>
                    </a:ext>
                  </a:extLst>
                </a:hlinkClick>
              </a:rPr>
              <a:t>Video ad</a:t>
            </a:r>
            <a:br>
              <a:rPr lang="en-US" sz="1600" dirty="0">
                <a:solidFill>
                  <a:srgbClr val="00B0F0"/>
                </a:solidFill>
              </a:rPr>
            </a:br>
            <a:endParaRPr lang="en-US" sz="1600">
              <a:solidFill>
                <a:srgbClr val="00B0F0"/>
              </a:solidFill>
              <a:cs typeface="Arial"/>
            </a:endParaRPr>
          </a:p>
          <a:p>
            <a:pPr marL="342900" indent="-342900">
              <a:buFont typeface="+mj-lt"/>
              <a:buAutoNum type="arabicPeriod"/>
            </a:pPr>
            <a:r>
              <a:rPr lang="en-US" sz="1600" dirty="0">
                <a:solidFill>
                  <a:srgbClr val="00B0F0"/>
                </a:solidFill>
                <a:hlinkClick r:id="rId5">
                  <a:extLst>
                    <a:ext uri="{A12FA001-AC4F-418D-AE19-62706E023703}">
                      <ahyp:hlinkClr xmlns:ahyp="http://schemas.microsoft.com/office/drawing/2018/hyperlinkcolor" val="tx"/>
                    </a:ext>
                  </a:extLst>
                </a:hlinkClick>
              </a:rPr>
              <a:t>Carousel ad</a:t>
            </a:r>
            <a:endParaRPr lang="en-US" sz="1600" dirty="0">
              <a:solidFill>
                <a:srgbClr val="00B0F0"/>
              </a:solidFill>
              <a:cs typeface="Arial"/>
              <a:hlinkClick r:id="rId5">
                <a:extLst>
                  <a:ext uri="{A12FA001-AC4F-418D-AE19-62706E023703}">
                    <ahyp:hlinkClr xmlns:ahyp="http://schemas.microsoft.com/office/drawing/2018/hyperlinkcolor" val="tx"/>
                  </a:ext>
                </a:extLst>
              </a:hlinkClick>
            </a:endParaRPr>
          </a:p>
          <a:p>
            <a:pPr marL="342900" indent="-342900">
              <a:buFont typeface="+mj-lt"/>
              <a:buAutoNum type="arabicPeriod"/>
            </a:pPr>
            <a:endParaRPr lang="en-US" sz="1600" dirty="0">
              <a:solidFill>
                <a:schemeClr val="tx2"/>
              </a:solidFill>
            </a:endParaRPr>
          </a:p>
          <a:p>
            <a:pPr marL="342900" indent="-342900">
              <a:buFont typeface="+mj-lt"/>
              <a:buAutoNum type="arabicPeriod"/>
            </a:pPr>
            <a:endParaRPr lang="en-US" sz="1600" dirty="0">
              <a:solidFill>
                <a:schemeClr val="tx2"/>
              </a:solidFill>
            </a:endParaRPr>
          </a:p>
          <a:p>
            <a:pPr marL="342900" indent="-342900">
              <a:buFont typeface="+mj-lt"/>
              <a:buAutoNum type="arabicPeriod"/>
            </a:pPr>
            <a:endParaRPr lang="en-US" sz="1600" dirty="0">
              <a:solidFill>
                <a:schemeClr val="tx2"/>
              </a:solidFill>
            </a:endParaRPr>
          </a:p>
        </p:txBody>
      </p:sp>
    </p:spTree>
    <p:extLst>
      <p:ext uri="{BB962C8B-B14F-4D97-AF65-F5344CB8AC3E}">
        <p14:creationId xmlns:p14="http://schemas.microsoft.com/office/powerpoint/2010/main" val="337228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dirty="0"/>
              <a:t>Single Image Ad</a:t>
            </a:r>
          </a:p>
        </p:txBody>
      </p:sp>
      <p:pic>
        <p:nvPicPr>
          <p:cNvPr id="3" name="Picture 2">
            <a:extLst>
              <a:ext uri="{FF2B5EF4-FFF2-40B4-BE49-F238E27FC236}">
                <a16:creationId xmlns:a16="http://schemas.microsoft.com/office/drawing/2014/main" id="{BB6530A4-A4D5-3E18-681F-49D940197F82}"/>
              </a:ext>
            </a:extLst>
          </p:cNvPr>
          <p:cNvPicPr>
            <a:picLocks noChangeAspect="1"/>
          </p:cNvPicPr>
          <p:nvPr/>
        </p:nvPicPr>
        <p:blipFill>
          <a:blip r:embed="rId3"/>
          <a:stretch>
            <a:fillRect/>
          </a:stretch>
        </p:blipFill>
        <p:spPr>
          <a:xfrm>
            <a:off x="2028602" y="1918872"/>
            <a:ext cx="4436278" cy="39579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512F5352-39AA-8B3D-F846-21EA24F963DA}"/>
              </a:ext>
            </a:extLst>
          </p:cNvPr>
          <p:cNvSpPr txBox="1"/>
          <p:nvPr/>
        </p:nvSpPr>
        <p:spPr>
          <a:xfrm>
            <a:off x="7205156" y="1759276"/>
            <a:ext cx="2343563" cy="338554"/>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Headline: </a:t>
            </a:r>
            <a:r>
              <a:rPr lang="en-IN" sz="1600" b="0" i="0" dirty="0">
                <a:effectLst/>
                <a:highlight>
                  <a:srgbClr val="FFFFFF"/>
                </a:highlight>
                <a:latin typeface="Source Sans Pro" panose="020B0503030403020204" pitchFamily="34" charset="0"/>
              </a:rPr>
              <a:t>70 characters</a:t>
            </a:r>
            <a:endParaRPr lang="en-US" sz="1600" dirty="0" err="1">
              <a:solidFill>
                <a:schemeClr val="tx2"/>
              </a:solidFill>
            </a:endParaRPr>
          </a:p>
        </p:txBody>
      </p:sp>
      <p:sp>
        <p:nvSpPr>
          <p:cNvPr id="10" name="TextBox 9">
            <a:extLst>
              <a:ext uri="{FF2B5EF4-FFF2-40B4-BE49-F238E27FC236}">
                <a16:creationId xmlns:a16="http://schemas.microsoft.com/office/drawing/2014/main" id="{C903F74E-6D3D-4EB3-DCD3-102B9E614423}"/>
              </a:ext>
            </a:extLst>
          </p:cNvPr>
          <p:cNvSpPr txBox="1"/>
          <p:nvPr/>
        </p:nvSpPr>
        <p:spPr>
          <a:xfrm>
            <a:off x="5431660" y="1714981"/>
            <a:ext cx="4175451" cy="313318"/>
          </a:xfrm>
          <a:prstGeom prst="rect">
            <a:avLst/>
          </a:prstGeom>
          <a:noFill/>
        </p:spPr>
        <p:txBody>
          <a:bodyPr wrap="square" rtlCol="0">
            <a:spAutoFit/>
          </a:bodyPr>
          <a:lstStyle/>
          <a:p>
            <a:endParaRPr lang="en-US" sz="1600" dirty="0">
              <a:solidFill>
                <a:schemeClr val="tx2"/>
              </a:solidFill>
              <a:highlight>
                <a:srgbClr val="FFFF00"/>
              </a:highlight>
            </a:endParaRPr>
          </a:p>
        </p:txBody>
      </p:sp>
      <p:sp>
        <p:nvSpPr>
          <p:cNvPr id="13" name="Rectangle 12">
            <a:extLst>
              <a:ext uri="{FF2B5EF4-FFF2-40B4-BE49-F238E27FC236}">
                <a16:creationId xmlns:a16="http://schemas.microsoft.com/office/drawing/2014/main" id="{10459E1D-0649-FF48-079E-322D44E816D2}"/>
              </a:ext>
            </a:extLst>
          </p:cNvPr>
          <p:cNvSpPr/>
          <p:nvPr/>
        </p:nvSpPr>
        <p:spPr>
          <a:xfrm>
            <a:off x="7290791" y="2138771"/>
            <a:ext cx="4175451" cy="378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70 Char</a:t>
            </a:r>
          </a:p>
        </p:txBody>
      </p:sp>
      <p:sp>
        <p:nvSpPr>
          <p:cNvPr id="14" name="TextBox 13">
            <a:extLst>
              <a:ext uri="{FF2B5EF4-FFF2-40B4-BE49-F238E27FC236}">
                <a16:creationId xmlns:a16="http://schemas.microsoft.com/office/drawing/2014/main" id="{EEF4E482-87A0-F013-A8FB-BB380AD8A2B9}"/>
              </a:ext>
            </a:extLst>
          </p:cNvPr>
          <p:cNvSpPr txBox="1"/>
          <p:nvPr/>
        </p:nvSpPr>
        <p:spPr>
          <a:xfrm>
            <a:off x="7235450" y="2822802"/>
            <a:ext cx="3270549" cy="338554"/>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Introductory text: </a:t>
            </a:r>
            <a:r>
              <a:rPr lang="en-IN" sz="1600" b="0" i="0" dirty="0">
                <a:effectLst/>
                <a:highlight>
                  <a:srgbClr val="FFFFFF"/>
                </a:highlight>
                <a:latin typeface="Source Sans Pro" panose="020B0503030403020204" pitchFamily="34" charset="0"/>
              </a:rPr>
              <a:t> 150 characters</a:t>
            </a:r>
            <a:endParaRPr lang="en-US" sz="1600" dirty="0" err="1">
              <a:solidFill>
                <a:schemeClr val="tx2"/>
              </a:solidFill>
            </a:endParaRPr>
          </a:p>
        </p:txBody>
      </p:sp>
      <p:sp>
        <p:nvSpPr>
          <p:cNvPr id="15" name="Rectangle 14">
            <a:extLst>
              <a:ext uri="{FF2B5EF4-FFF2-40B4-BE49-F238E27FC236}">
                <a16:creationId xmlns:a16="http://schemas.microsoft.com/office/drawing/2014/main" id="{9367347A-10D8-1E07-9C91-4E95EFC5D357}"/>
              </a:ext>
            </a:extLst>
          </p:cNvPr>
          <p:cNvSpPr/>
          <p:nvPr/>
        </p:nvSpPr>
        <p:spPr>
          <a:xfrm>
            <a:off x="7346681" y="3202750"/>
            <a:ext cx="4175451" cy="1078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150 </a:t>
            </a:r>
          </a:p>
        </p:txBody>
      </p:sp>
      <p:sp>
        <p:nvSpPr>
          <p:cNvPr id="16" name="TextBox 15">
            <a:extLst>
              <a:ext uri="{FF2B5EF4-FFF2-40B4-BE49-F238E27FC236}">
                <a16:creationId xmlns:a16="http://schemas.microsoft.com/office/drawing/2014/main" id="{72D4240F-DA83-A010-34AC-0CF700920CC3}"/>
              </a:ext>
            </a:extLst>
          </p:cNvPr>
          <p:cNvSpPr txBox="1"/>
          <p:nvPr/>
        </p:nvSpPr>
        <p:spPr>
          <a:xfrm>
            <a:off x="7290791" y="4656947"/>
            <a:ext cx="1215719" cy="338554"/>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Image</a:t>
            </a:r>
            <a:endParaRPr lang="en-US" sz="1600" dirty="0" err="1">
              <a:solidFill>
                <a:schemeClr val="tx2"/>
              </a:solidFill>
            </a:endParaRPr>
          </a:p>
        </p:txBody>
      </p:sp>
      <p:sp>
        <p:nvSpPr>
          <p:cNvPr id="17" name="Rectangle 16">
            <a:extLst>
              <a:ext uri="{FF2B5EF4-FFF2-40B4-BE49-F238E27FC236}">
                <a16:creationId xmlns:a16="http://schemas.microsoft.com/office/drawing/2014/main" id="{AD48F3D2-51CC-6E47-C13B-1345227E9B31}"/>
              </a:ext>
            </a:extLst>
          </p:cNvPr>
          <p:cNvSpPr/>
          <p:nvPr/>
        </p:nvSpPr>
        <p:spPr>
          <a:xfrm>
            <a:off x="7346681" y="4992474"/>
            <a:ext cx="4175451" cy="7848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You can provide the SharePoint link or put all the image in folder and share </a:t>
            </a:r>
          </a:p>
        </p:txBody>
      </p:sp>
      <p:sp>
        <p:nvSpPr>
          <p:cNvPr id="5" name="TextBox 4">
            <a:extLst>
              <a:ext uri="{FF2B5EF4-FFF2-40B4-BE49-F238E27FC236}">
                <a16:creationId xmlns:a16="http://schemas.microsoft.com/office/drawing/2014/main" id="{DF72BBA3-C0F1-D0EA-7917-98317DB37BA6}"/>
              </a:ext>
            </a:extLst>
          </p:cNvPr>
          <p:cNvSpPr txBox="1"/>
          <p:nvPr/>
        </p:nvSpPr>
        <p:spPr>
          <a:xfrm>
            <a:off x="3742820" y="6212372"/>
            <a:ext cx="5444119" cy="338554"/>
          </a:xfrm>
          <a:prstGeom prst="rect">
            <a:avLst/>
          </a:prstGeom>
          <a:noFill/>
        </p:spPr>
        <p:txBody>
          <a:bodyPr wrap="none" rtlCol="0">
            <a:spAutoFit/>
          </a:bodyPr>
          <a:lstStyle/>
          <a:p>
            <a:r>
              <a:rPr lang="en-US" sz="1600" dirty="0">
                <a:solidFill>
                  <a:schemeClr val="tx2"/>
                </a:solidFill>
                <a:hlinkClick r:id="rId4"/>
              </a:rPr>
              <a:t>Here is some more information about the Single Image ad</a:t>
            </a:r>
            <a:endParaRPr lang="en-US" sz="1600" dirty="0">
              <a:solidFill>
                <a:schemeClr val="tx2"/>
              </a:solidFill>
            </a:endParaRPr>
          </a:p>
        </p:txBody>
      </p:sp>
      <p:cxnSp>
        <p:nvCxnSpPr>
          <p:cNvPr id="7" name="Straight Arrow Connector 6">
            <a:extLst>
              <a:ext uri="{FF2B5EF4-FFF2-40B4-BE49-F238E27FC236}">
                <a16:creationId xmlns:a16="http://schemas.microsoft.com/office/drawing/2014/main" id="{DBCEF478-0F84-F956-E15B-0D82924A99C4}"/>
              </a:ext>
            </a:extLst>
          </p:cNvPr>
          <p:cNvCxnSpPr/>
          <p:nvPr/>
        </p:nvCxnSpPr>
        <p:spPr>
          <a:xfrm flipH="1">
            <a:off x="1591200" y="2762808"/>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8EC6AAA-1A93-8F02-4886-B305FB335B6E}"/>
              </a:ext>
            </a:extLst>
          </p:cNvPr>
          <p:cNvSpPr txBox="1"/>
          <p:nvPr/>
        </p:nvSpPr>
        <p:spPr>
          <a:xfrm>
            <a:off x="157889" y="2593531"/>
            <a:ext cx="1269899" cy="338554"/>
          </a:xfrm>
          <a:prstGeom prst="rect">
            <a:avLst/>
          </a:prstGeom>
          <a:noFill/>
        </p:spPr>
        <p:txBody>
          <a:bodyPr wrap="none" rtlCol="0">
            <a:spAutoFit/>
          </a:bodyPr>
          <a:lstStyle/>
          <a:p>
            <a:r>
              <a:rPr lang="en-US" sz="1600" dirty="0">
                <a:solidFill>
                  <a:schemeClr val="tx2"/>
                </a:solidFill>
              </a:rPr>
              <a:t>Introductory</a:t>
            </a:r>
          </a:p>
        </p:txBody>
      </p:sp>
      <p:cxnSp>
        <p:nvCxnSpPr>
          <p:cNvPr id="11" name="Straight Arrow Connector 10">
            <a:extLst>
              <a:ext uri="{FF2B5EF4-FFF2-40B4-BE49-F238E27FC236}">
                <a16:creationId xmlns:a16="http://schemas.microsoft.com/office/drawing/2014/main" id="{1143300B-9330-ECAD-8D5A-FD11BFA5ABEE}"/>
              </a:ext>
            </a:extLst>
          </p:cNvPr>
          <p:cNvCxnSpPr/>
          <p:nvPr/>
        </p:nvCxnSpPr>
        <p:spPr>
          <a:xfrm flipH="1">
            <a:off x="1591199" y="5544108"/>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38696BD-8A8F-BD78-AC4A-BFA734CBDF1D}"/>
              </a:ext>
            </a:extLst>
          </p:cNvPr>
          <p:cNvSpPr txBox="1"/>
          <p:nvPr/>
        </p:nvSpPr>
        <p:spPr>
          <a:xfrm>
            <a:off x="297349" y="5374831"/>
            <a:ext cx="990977" cy="338554"/>
          </a:xfrm>
          <a:prstGeom prst="rect">
            <a:avLst/>
          </a:prstGeom>
          <a:noFill/>
        </p:spPr>
        <p:txBody>
          <a:bodyPr wrap="none" rtlCol="0">
            <a:spAutoFit/>
          </a:bodyPr>
          <a:lstStyle/>
          <a:p>
            <a:r>
              <a:rPr lang="en-US" sz="1600" dirty="0">
                <a:solidFill>
                  <a:schemeClr val="tx2"/>
                </a:solidFill>
              </a:rPr>
              <a:t>Headline</a:t>
            </a:r>
          </a:p>
        </p:txBody>
      </p:sp>
      <p:sp>
        <p:nvSpPr>
          <p:cNvPr id="18" name="TextBox 17">
            <a:extLst>
              <a:ext uri="{FF2B5EF4-FFF2-40B4-BE49-F238E27FC236}">
                <a16:creationId xmlns:a16="http://schemas.microsoft.com/office/drawing/2014/main" id="{A251F0FB-A381-02CE-49AD-3A005D544167}"/>
              </a:ext>
            </a:extLst>
          </p:cNvPr>
          <p:cNvSpPr txBox="1"/>
          <p:nvPr/>
        </p:nvSpPr>
        <p:spPr>
          <a:xfrm>
            <a:off x="384694" y="1106876"/>
            <a:ext cx="11641806" cy="338554"/>
          </a:xfrm>
          <a:prstGeom prst="rect">
            <a:avLst/>
          </a:prstGeom>
          <a:noFill/>
        </p:spPr>
        <p:txBody>
          <a:bodyPr wrap="square" rtlCol="0">
            <a:spAutoFit/>
          </a:bodyPr>
          <a:lstStyle/>
          <a:p>
            <a:r>
              <a:rPr lang="en-IN" sz="1600" b="1" i="0" dirty="0">
                <a:solidFill>
                  <a:srgbClr val="111111"/>
                </a:solidFill>
                <a:effectLst/>
                <a:highlight>
                  <a:srgbClr val="FFFFFF"/>
                </a:highlight>
                <a:latin typeface="-apple-system"/>
              </a:rPr>
              <a:t>Single Image Ads</a:t>
            </a:r>
            <a:r>
              <a:rPr lang="en-IN" sz="1600" b="0" i="0" dirty="0">
                <a:solidFill>
                  <a:srgbClr val="111111"/>
                </a:solidFill>
                <a:effectLst/>
                <a:highlight>
                  <a:srgbClr val="FFFFFF"/>
                </a:highlight>
                <a:latin typeface="-apple-system"/>
              </a:rPr>
              <a:t>: Capture attention with a single, compelling image and concise text to convey your message directly in the LinkedIn feed.</a:t>
            </a:r>
            <a:endParaRPr lang="en-US" sz="1600" dirty="0" err="1">
              <a:solidFill>
                <a:schemeClr val="tx2"/>
              </a:solidFill>
            </a:endParaRPr>
          </a:p>
        </p:txBody>
      </p:sp>
      <p:cxnSp>
        <p:nvCxnSpPr>
          <p:cNvPr id="19" name="Straight Arrow Connector 18">
            <a:extLst>
              <a:ext uri="{FF2B5EF4-FFF2-40B4-BE49-F238E27FC236}">
                <a16:creationId xmlns:a16="http://schemas.microsoft.com/office/drawing/2014/main" id="{490F5A0D-D4A4-DA85-EAE2-1B700532840B}"/>
              </a:ext>
            </a:extLst>
          </p:cNvPr>
          <p:cNvCxnSpPr/>
          <p:nvPr/>
        </p:nvCxnSpPr>
        <p:spPr>
          <a:xfrm flipH="1">
            <a:off x="1564855" y="4053043"/>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0714893-F1E7-FF4A-1316-DCA5AF2E69B2}"/>
              </a:ext>
            </a:extLst>
          </p:cNvPr>
          <p:cNvSpPr txBox="1"/>
          <p:nvPr/>
        </p:nvSpPr>
        <p:spPr>
          <a:xfrm>
            <a:off x="416617" y="3888176"/>
            <a:ext cx="755335" cy="338554"/>
          </a:xfrm>
          <a:prstGeom prst="rect">
            <a:avLst/>
          </a:prstGeom>
          <a:noFill/>
        </p:spPr>
        <p:txBody>
          <a:bodyPr wrap="none" rtlCol="0">
            <a:spAutoFit/>
          </a:bodyPr>
          <a:lstStyle/>
          <a:p>
            <a:r>
              <a:rPr lang="en-US" sz="1600" dirty="0">
                <a:solidFill>
                  <a:schemeClr val="tx2"/>
                </a:solidFill>
              </a:rPr>
              <a:t>Image</a:t>
            </a:r>
          </a:p>
        </p:txBody>
      </p:sp>
    </p:spTree>
    <p:extLst>
      <p:ext uri="{BB962C8B-B14F-4D97-AF65-F5344CB8AC3E}">
        <p14:creationId xmlns:p14="http://schemas.microsoft.com/office/powerpoint/2010/main" val="126328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dirty="0"/>
              <a:t>Document Ad</a:t>
            </a:r>
          </a:p>
        </p:txBody>
      </p:sp>
      <p:pic>
        <p:nvPicPr>
          <p:cNvPr id="3" name="Picture 2">
            <a:extLst>
              <a:ext uri="{FF2B5EF4-FFF2-40B4-BE49-F238E27FC236}">
                <a16:creationId xmlns:a16="http://schemas.microsoft.com/office/drawing/2014/main" id="{8F4A84A4-E588-4343-51B8-DB75DB78EC3E}"/>
              </a:ext>
            </a:extLst>
          </p:cNvPr>
          <p:cNvPicPr>
            <a:picLocks noChangeAspect="1"/>
          </p:cNvPicPr>
          <p:nvPr/>
        </p:nvPicPr>
        <p:blipFill>
          <a:blip r:embed="rId3"/>
          <a:stretch>
            <a:fillRect/>
          </a:stretch>
        </p:blipFill>
        <p:spPr>
          <a:xfrm>
            <a:off x="2560005" y="1902314"/>
            <a:ext cx="2680328" cy="41548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DD559F46-ED8C-F3A5-F40F-4E56D5292941}"/>
              </a:ext>
            </a:extLst>
          </p:cNvPr>
          <p:cNvSpPr txBox="1"/>
          <p:nvPr/>
        </p:nvSpPr>
        <p:spPr>
          <a:xfrm>
            <a:off x="6956116" y="1738698"/>
            <a:ext cx="2251830" cy="348770"/>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Headline: </a:t>
            </a:r>
            <a:r>
              <a:rPr lang="en-IN" sz="1600" b="0" i="0" dirty="0">
                <a:effectLst/>
                <a:highlight>
                  <a:srgbClr val="FFFFFF"/>
                </a:highlight>
                <a:latin typeface="Source Sans Pro" panose="020B0503030403020204" pitchFamily="34" charset="0"/>
              </a:rPr>
              <a:t>70 characters</a:t>
            </a:r>
            <a:endParaRPr lang="en-US" sz="1600" dirty="0" err="1">
              <a:solidFill>
                <a:schemeClr val="tx2"/>
              </a:solidFill>
            </a:endParaRPr>
          </a:p>
        </p:txBody>
      </p:sp>
      <p:sp>
        <p:nvSpPr>
          <p:cNvPr id="5" name="Rectangle 4">
            <a:extLst>
              <a:ext uri="{FF2B5EF4-FFF2-40B4-BE49-F238E27FC236}">
                <a16:creationId xmlns:a16="http://schemas.microsoft.com/office/drawing/2014/main" id="{ABB3ED32-F5C9-73F4-70E4-4DAEC3417CE8}"/>
              </a:ext>
            </a:extLst>
          </p:cNvPr>
          <p:cNvSpPr/>
          <p:nvPr/>
        </p:nvSpPr>
        <p:spPr>
          <a:xfrm>
            <a:off x="6956116" y="2073653"/>
            <a:ext cx="4860655" cy="4716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70 Char</a:t>
            </a:r>
          </a:p>
        </p:txBody>
      </p:sp>
      <p:sp>
        <p:nvSpPr>
          <p:cNvPr id="6" name="TextBox 5">
            <a:extLst>
              <a:ext uri="{FF2B5EF4-FFF2-40B4-BE49-F238E27FC236}">
                <a16:creationId xmlns:a16="http://schemas.microsoft.com/office/drawing/2014/main" id="{A57D2B75-3B56-0033-19B5-B8327C7BB5BE}"/>
              </a:ext>
            </a:extLst>
          </p:cNvPr>
          <p:cNvSpPr txBox="1"/>
          <p:nvPr/>
        </p:nvSpPr>
        <p:spPr>
          <a:xfrm>
            <a:off x="6956115" y="2825087"/>
            <a:ext cx="3168516" cy="348770"/>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Introductory text: </a:t>
            </a:r>
            <a:r>
              <a:rPr lang="en-IN" sz="1600" b="0" i="0" dirty="0">
                <a:effectLst/>
                <a:highlight>
                  <a:srgbClr val="FFFFFF"/>
                </a:highlight>
                <a:latin typeface="Source Sans Pro" panose="020B0503030403020204" pitchFamily="34" charset="0"/>
              </a:rPr>
              <a:t> 150 characters</a:t>
            </a:r>
            <a:endParaRPr lang="en-US" sz="1600" dirty="0" err="1">
              <a:solidFill>
                <a:schemeClr val="tx2"/>
              </a:solidFill>
            </a:endParaRPr>
          </a:p>
        </p:txBody>
      </p:sp>
      <p:sp>
        <p:nvSpPr>
          <p:cNvPr id="10" name="Rectangle 9">
            <a:extLst>
              <a:ext uri="{FF2B5EF4-FFF2-40B4-BE49-F238E27FC236}">
                <a16:creationId xmlns:a16="http://schemas.microsoft.com/office/drawing/2014/main" id="{E73D0E7E-7E37-8422-AC2E-3102CD9BE376}"/>
              </a:ext>
            </a:extLst>
          </p:cNvPr>
          <p:cNvSpPr/>
          <p:nvPr/>
        </p:nvSpPr>
        <p:spPr>
          <a:xfrm>
            <a:off x="6956115" y="3134468"/>
            <a:ext cx="4860655" cy="13446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150 Char</a:t>
            </a:r>
          </a:p>
        </p:txBody>
      </p:sp>
      <p:sp>
        <p:nvSpPr>
          <p:cNvPr id="11" name="TextBox 10">
            <a:extLst>
              <a:ext uri="{FF2B5EF4-FFF2-40B4-BE49-F238E27FC236}">
                <a16:creationId xmlns:a16="http://schemas.microsoft.com/office/drawing/2014/main" id="{7AA95DB2-B1F7-25BC-D5B7-A2843063B0BC}"/>
              </a:ext>
            </a:extLst>
          </p:cNvPr>
          <p:cNvSpPr txBox="1"/>
          <p:nvPr/>
        </p:nvSpPr>
        <p:spPr>
          <a:xfrm>
            <a:off x="6956116" y="4758943"/>
            <a:ext cx="1122860" cy="348770"/>
          </a:xfrm>
          <a:prstGeom prst="rect">
            <a:avLst/>
          </a:prstGeom>
          <a:noFill/>
        </p:spPr>
        <p:txBody>
          <a:bodyPr wrap="square" rtlCol="0">
            <a:spAutoFit/>
          </a:bodyPr>
          <a:lstStyle/>
          <a:p>
            <a:r>
              <a:rPr lang="en-IN" sz="1600" b="1" i="0" dirty="0">
                <a:effectLst/>
                <a:highlight>
                  <a:srgbClr val="FFFFFF"/>
                </a:highlight>
                <a:latin typeface="Source Sans Pro" panose="020B0503030403020204" pitchFamily="34" charset="0"/>
              </a:rPr>
              <a:t>Document</a:t>
            </a:r>
            <a:endParaRPr lang="en-US" sz="1600" dirty="0" err="1">
              <a:solidFill>
                <a:schemeClr val="tx2"/>
              </a:solidFill>
            </a:endParaRPr>
          </a:p>
        </p:txBody>
      </p:sp>
      <p:sp>
        <p:nvSpPr>
          <p:cNvPr id="13" name="Rectangle 12">
            <a:extLst>
              <a:ext uri="{FF2B5EF4-FFF2-40B4-BE49-F238E27FC236}">
                <a16:creationId xmlns:a16="http://schemas.microsoft.com/office/drawing/2014/main" id="{F1DA1DB8-AF11-95C3-1358-E74821CCFA34}"/>
              </a:ext>
            </a:extLst>
          </p:cNvPr>
          <p:cNvSpPr/>
          <p:nvPr/>
        </p:nvSpPr>
        <p:spPr>
          <a:xfrm>
            <a:off x="6956115" y="5079062"/>
            <a:ext cx="4860655" cy="9781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You can provide the SharePoint link or put all the image in folder and share </a:t>
            </a:r>
          </a:p>
        </p:txBody>
      </p:sp>
      <p:cxnSp>
        <p:nvCxnSpPr>
          <p:cNvPr id="7" name="Straight Arrow Connector 6">
            <a:extLst>
              <a:ext uri="{FF2B5EF4-FFF2-40B4-BE49-F238E27FC236}">
                <a16:creationId xmlns:a16="http://schemas.microsoft.com/office/drawing/2014/main" id="{3389ACAF-585A-553B-9053-D083F420A7F0}"/>
              </a:ext>
            </a:extLst>
          </p:cNvPr>
          <p:cNvCxnSpPr/>
          <p:nvPr/>
        </p:nvCxnSpPr>
        <p:spPr>
          <a:xfrm flipH="1">
            <a:off x="2048398" y="2313360"/>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7E8695B8-B661-78F6-FA7A-7413573D377F}"/>
              </a:ext>
            </a:extLst>
          </p:cNvPr>
          <p:cNvCxnSpPr/>
          <p:nvPr/>
        </p:nvCxnSpPr>
        <p:spPr>
          <a:xfrm flipH="1">
            <a:off x="2055324" y="2548888"/>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CFF00AB-F287-E9A8-BD22-93ADBEEAB64C}"/>
              </a:ext>
            </a:extLst>
          </p:cNvPr>
          <p:cNvCxnSpPr/>
          <p:nvPr/>
        </p:nvCxnSpPr>
        <p:spPr>
          <a:xfrm flipH="1">
            <a:off x="2055324" y="4149087"/>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7697FE4-8A03-3E25-0436-D179B7505037}"/>
              </a:ext>
            </a:extLst>
          </p:cNvPr>
          <p:cNvSpPr txBox="1"/>
          <p:nvPr/>
        </p:nvSpPr>
        <p:spPr>
          <a:xfrm>
            <a:off x="533084" y="2147635"/>
            <a:ext cx="1269899" cy="338554"/>
          </a:xfrm>
          <a:prstGeom prst="rect">
            <a:avLst/>
          </a:prstGeom>
          <a:noFill/>
        </p:spPr>
        <p:txBody>
          <a:bodyPr wrap="none" rtlCol="0">
            <a:spAutoFit/>
          </a:bodyPr>
          <a:lstStyle/>
          <a:p>
            <a:r>
              <a:rPr lang="en-US" sz="1600" dirty="0">
                <a:solidFill>
                  <a:schemeClr val="tx2"/>
                </a:solidFill>
              </a:rPr>
              <a:t>Introductory</a:t>
            </a:r>
          </a:p>
        </p:txBody>
      </p:sp>
      <p:sp>
        <p:nvSpPr>
          <p:cNvPr id="14" name="TextBox 13">
            <a:extLst>
              <a:ext uri="{FF2B5EF4-FFF2-40B4-BE49-F238E27FC236}">
                <a16:creationId xmlns:a16="http://schemas.microsoft.com/office/drawing/2014/main" id="{CC28376F-663D-48D9-01D9-E7D5AB0CCFCA}"/>
              </a:ext>
            </a:extLst>
          </p:cNvPr>
          <p:cNvSpPr txBox="1"/>
          <p:nvPr/>
        </p:nvSpPr>
        <p:spPr>
          <a:xfrm>
            <a:off x="672546" y="2379611"/>
            <a:ext cx="990977" cy="338554"/>
          </a:xfrm>
          <a:prstGeom prst="rect">
            <a:avLst/>
          </a:prstGeom>
          <a:noFill/>
        </p:spPr>
        <p:txBody>
          <a:bodyPr wrap="none" rtlCol="0">
            <a:spAutoFit/>
          </a:bodyPr>
          <a:lstStyle/>
          <a:p>
            <a:r>
              <a:rPr lang="en-US" sz="1600" dirty="0">
                <a:solidFill>
                  <a:schemeClr val="tx2"/>
                </a:solidFill>
              </a:rPr>
              <a:t>Headline</a:t>
            </a:r>
          </a:p>
        </p:txBody>
      </p:sp>
      <p:sp>
        <p:nvSpPr>
          <p:cNvPr id="15" name="TextBox 14">
            <a:extLst>
              <a:ext uri="{FF2B5EF4-FFF2-40B4-BE49-F238E27FC236}">
                <a16:creationId xmlns:a16="http://schemas.microsoft.com/office/drawing/2014/main" id="{44955A0C-8E68-EEFE-5DB8-6B714AACAAFE}"/>
              </a:ext>
            </a:extLst>
          </p:cNvPr>
          <p:cNvSpPr txBox="1"/>
          <p:nvPr/>
        </p:nvSpPr>
        <p:spPr>
          <a:xfrm>
            <a:off x="675669" y="3970433"/>
            <a:ext cx="1119217" cy="338554"/>
          </a:xfrm>
          <a:prstGeom prst="rect">
            <a:avLst/>
          </a:prstGeom>
          <a:noFill/>
        </p:spPr>
        <p:txBody>
          <a:bodyPr wrap="none" rtlCol="0">
            <a:spAutoFit/>
          </a:bodyPr>
          <a:lstStyle/>
          <a:p>
            <a:r>
              <a:rPr lang="en-US" sz="1600" dirty="0">
                <a:solidFill>
                  <a:schemeClr val="tx2"/>
                </a:solidFill>
              </a:rPr>
              <a:t>Document</a:t>
            </a:r>
          </a:p>
        </p:txBody>
      </p:sp>
      <p:sp>
        <p:nvSpPr>
          <p:cNvPr id="16" name="TextBox 15">
            <a:extLst>
              <a:ext uri="{FF2B5EF4-FFF2-40B4-BE49-F238E27FC236}">
                <a16:creationId xmlns:a16="http://schemas.microsoft.com/office/drawing/2014/main" id="{60F20C32-EB19-0E12-D550-0E466685A304}"/>
              </a:ext>
            </a:extLst>
          </p:cNvPr>
          <p:cNvSpPr txBox="1"/>
          <p:nvPr/>
        </p:nvSpPr>
        <p:spPr>
          <a:xfrm>
            <a:off x="3148445" y="6348845"/>
            <a:ext cx="5182829" cy="338554"/>
          </a:xfrm>
          <a:prstGeom prst="rect">
            <a:avLst/>
          </a:prstGeom>
          <a:noFill/>
        </p:spPr>
        <p:txBody>
          <a:bodyPr wrap="none" rtlCol="0">
            <a:spAutoFit/>
          </a:bodyPr>
          <a:lstStyle/>
          <a:p>
            <a:r>
              <a:rPr lang="en-US" sz="1600" dirty="0">
                <a:solidFill>
                  <a:schemeClr val="tx2"/>
                </a:solidFill>
                <a:hlinkClick r:id="rId4"/>
              </a:rPr>
              <a:t>Here is some more information about the Document ad</a:t>
            </a:r>
            <a:endParaRPr lang="en-US" sz="1600" dirty="0">
              <a:solidFill>
                <a:schemeClr val="tx2"/>
              </a:solidFill>
            </a:endParaRPr>
          </a:p>
        </p:txBody>
      </p:sp>
      <p:sp>
        <p:nvSpPr>
          <p:cNvPr id="17" name="TextBox 16">
            <a:extLst>
              <a:ext uri="{FF2B5EF4-FFF2-40B4-BE49-F238E27FC236}">
                <a16:creationId xmlns:a16="http://schemas.microsoft.com/office/drawing/2014/main" id="{F3C11764-F32A-EF26-BE74-2F34651D39F3}"/>
              </a:ext>
            </a:extLst>
          </p:cNvPr>
          <p:cNvSpPr txBox="1"/>
          <p:nvPr/>
        </p:nvSpPr>
        <p:spPr>
          <a:xfrm>
            <a:off x="384694" y="1106876"/>
            <a:ext cx="8406015" cy="338554"/>
          </a:xfrm>
          <a:prstGeom prst="rect">
            <a:avLst/>
          </a:prstGeom>
          <a:noFill/>
        </p:spPr>
        <p:txBody>
          <a:bodyPr wrap="square" rtlCol="0">
            <a:spAutoFit/>
          </a:bodyPr>
          <a:lstStyle/>
          <a:p>
            <a:pPr algn="l"/>
            <a:r>
              <a:rPr lang="en-IN" sz="1600" b="1" i="0" dirty="0">
                <a:solidFill>
                  <a:srgbClr val="111111"/>
                </a:solidFill>
                <a:effectLst/>
                <a:highlight>
                  <a:srgbClr val="FFFFFF"/>
                </a:highlight>
                <a:latin typeface="-apple-system"/>
              </a:rPr>
              <a:t>Document Ads</a:t>
            </a:r>
            <a:r>
              <a:rPr lang="en-IN" sz="1600" b="0" i="0" dirty="0">
                <a:solidFill>
                  <a:srgbClr val="111111"/>
                </a:solidFill>
                <a:effectLst/>
                <a:highlight>
                  <a:srgbClr val="FFFFFF"/>
                </a:highlight>
                <a:latin typeface="-apple-system"/>
              </a:rPr>
              <a:t>: Allow you to share documents that users can download, useful for lead generation.</a:t>
            </a:r>
          </a:p>
        </p:txBody>
      </p:sp>
    </p:spTree>
    <p:extLst>
      <p:ext uri="{BB962C8B-B14F-4D97-AF65-F5344CB8AC3E}">
        <p14:creationId xmlns:p14="http://schemas.microsoft.com/office/powerpoint/2010/main" val="167011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dirty="0"/>
              <a:t>Video Ad</a:t>
            </a:r>
          </a:p>
        </p:txBody>
      </p:sp>
      <p:pic>
        <p:nvPicPr>
          <p:cNvPr id="3" name="Picture 2">
            <a:extLst>
              <a:ext uri="{FF2B5EF4-FFF2-40B4-BE49-F238E27FC236}">
                <a16:creationId xmlns:a16="http://schemas.microsoft.com/office/drawing/2014/main" id="{C2C30685-7E59-5BA9-B8CA-2AEFAD65E796}"/>
              </a:ext>
            </a:extLst>
          </p:cNvPr>
          <p:cNvPicPr>
            <a:picLocks noChangeAspect="1"/>
          </p:cNvPicPr>
          <p:nvPr/>
        </p:nvPicPr>
        <p:blipFill>
          <a:blip r:embed="rId2"/>
          <a:stretch>
            <a:fillRect/>
          </a:stretch>
        </p:blipFill>
        <p:spPr>
          <a:xfrm>
            <a:off x="1934741" y="1920270"/>
            <a:ext cx="4218127" cy="40009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5E917D13-0913-3DD3-96F2-F1336C00EE2B}"/>
              </a:ext>
            </a:extLst>
          </p:cNvPr>
          <p:cNvSpPr txBox="1"/>
          <p:nvPr/>
        </p:nvSpPr>
        <p:spPr>
          <a:xfrm>
            <a:off x="6837508" y="1758121"/>
            <a:ext cx="2244525" cy="338554"/>
          </a:xfrm>
          <a:prstGeom prst="rect">
            <a:avLst/>
          </a:prstGeom>
          <a:noFill/>
        </p:spPr>
        <p:txBody>
          <a:bodyPr wrap="none" rtlCol="0">
            <a:spAutoFit/>
          </a:bodyPr>
          <a:lstStyle/>
          <a:p>
            <a:r>
              <a:rPr lang="en-IN" sz="1600" b="1" i="0" dirty="0">
                <a:effectLst/>
                <a:highlight>
                  <a:srgbClr val="FFFFFF"/>
                </a:highlight>
                <a:latin typeface="Source Sans Pro" panose="020B0503030403020204" pitchFamily="34" charset="0"/>
              </a:rPr>
              <a:t>Headline: </a:t>
            </a:r>
            <a:r>
              <a:rPr lang="en-IN" sz="1600" b="0" i="0" dirty="0">
                <a:effectLst/>
                <a:highlight>
                  <a:srgbClr val="FFFFFF"/>
                </a:highlight>
                <a:latin typeface="Source Sans Pro" panose="020B0503030403020204" pitchFamily="34" charset="0"/>
              </a:rPr>
              <a:t>70 characters</a:t>
            </a:r>
            <a:endParaRPr lang="en-US" sz="1600" dirty="0" err="1">
              <a:solidFill>
                <a:schemeClr val="tx2"/>
              </a:solidFill>
            </a:endParaRPr>
          </a:p>
        </p:txBody>
      </p:sp>
      <p:sp>
        <p:nvSpPr>
          <p:cNvPr id="5" name="Rectangle 4">
            <a:extLst>
              <a:ext uri="{FF2B5EF4-FFF2-40B4-BE49-F238E27FC236}">
                <a16:creationId xmlns:a16="http://schemas.microsoft.com/office/drawing/2014/main" id="{2ED077CE-1C53-6B8B-01BC-740A2F062B24}"/>
              </a:ext>
            </a:extLst>
          </p:cNvPr>
          <p:cNvSpPr/>
          <p:nvPr/>
        </p:nvSpPr>
        <p:spPr>
          <a:xfrm>
            <a:off x="6837508" y="2128755"/>
            <a:ext cx="4844887" cy="457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70 Char</a:t>
            </a:r>
          </a:p>
        </p:txBody>
      </p:sp>
      <p:sp>
        <p:nvSpPr>
          <p:cNvPr id="6" name="TextBox 5">
            <a:extLst>
              <a:ext uri="{FF2B5EF4-FFF2-40B4-BE49-F238E27FC236}">
                <a16:creationId xmlns:a16="http://schemas.microsoft.com/office/drawing/2014/main" id="{DF0160D2-F3EE-7A88-93BB-46A44F4C5F32}"/>
              </a:ext>
            </a:extLst>
          </p:cNvPr>
          <p:cNvSpPr txBox="1"/>
          <p:nvPr/>
        </p:nvSpPr>
        <p:spPr>
          <a:xfrm>
            <a:off x="6837508" y="2755874"/>
            <a:ext cx="3158237" cy="338554"/>
          </a:xfrm>
          <a:prstGeom prst="rect">
            <a:avLst/>
          </a:prstGeom>
          <a:noFill/>
        </p:spPr>
        <p:txBody>
          <a:bodyPr wrap="none" rtlCol="0">
            <a:spAutoFit/>
          </a:bodyPr>
          <a:lstStyle/>
          <a:p>
            <a:r>
              <a:rPr lang="en-IN" sz="1600" b="1" i="0" dirty="0">
                <a:effectLst/>
                <a:highlight>
                  <a:srgbClr val="FFFFFF"/>
                </a:highlight>
                <a:latin typeface="Source Sans Pro" panose="020B0503030403020204" pitchFamily="34" charset="0"/>
              </a:rPr>
              <a:t>Introductory text: </a:t>
            </a:r>
            <a:r>
              <a:rPr lang="en-IN" sz="1600" b="0" i="0" dirty="0">
                <a:effectLst/>
                <a:highlight>
                  <a:srgbClr val="FFFFFF"/>
                </a:highlight>
                <a:latin typeface="Source Sans Pro" panose="020B0503030403020204" pitchFamily="34" charset="0"/>
              </a:rPr>
              <a:t> 150 characters</a:t>
            </a:r>
            <a:endParaRPr lang="en-US" sz="1600" dirty="0" err="1">
              <a:solidFill>
                <a:schemeClr val="tx2"/>
              </a:solidFill>
            </a:endParaRPr>
          </a:p>
        </p:txBody>
      </p:sp>
      <p:sp>
        <p:nvSpPr>
          <p:cNvPr id="10" name="Rectangle 9">
            <a:extLst>
              <a:ext uri="{FF2B5EF4-FFF2-40B4-BE49-F238E27FC236}">
                <a16:creationId xmlns:a16="http://schemas.microsoft.com/office/drawing/2014/main" id="{20B8F39E-B566-62CF-D7A2-429398A6C7CD}"/>
              </a:ext>
            </a:extLst>
          </p:cNvPr>
          <p:cNvSpPr/>
          <p:nvPr/>
        </p:nvSpPr>
        <p:spPr>
          <a:xfrm>
            <a:off x="6837508" y="3158589"/>
            <a:ext cx="4844887" cy="1305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150 Char</a:t>
            </a:r>
          </a:p>
        </p:txBody>
      </p:sp>
      <p:sp>
        <p:nvSpPr>
          <p:cNvPr id="11" name="TextBox 10">
            <a:extLst>
              <a:ext uri="{FF2B5EF4-FFF2-40B4-BE49-F238E27FC236}">
                <a16:creationId xmlns:a16="http://schemas.microsoft.com/office/drawing/2014/main" id="{50AFF5EE-0113-2B39-D3D9-BC11CE7C2715}"/>
              </a:ext>
            </a:extLst>
          </p:cNvPr>
          <p:cNvSpPr txBox="1"/>
          <p:nvPr/>
        </p:nvSpPr>
        <p:spPr>
          <a:xfrm>
            <a:off x="6837508" y="4633177"/>
            <a:ext cx="691215" cy="338554"/>
          </a:xfrm>
          <a:prstGeom prst="rect">
            <a:avLst/>
          </a:prstGeom>
          <a:noFill/>
        </p:spPr>
        <p:txBody>
          <a:bodyPr wrap="none" rtlCol="0">
            <a:spAutoFit/>
          </a:bodyPr>
          <a:lstStyle/>
          <a:p>
            <a:r>
              <a:rPr lang="en-IN" sz="1600" b="1" i="0" dirty="0">
                <a:effectLst/>
                <a:highlight>
                  <a:srgbClr val="FFFFFF"/>
                </a:highlight>
                <a:latin typeface="Source Sans Pro" panose="020B0503030403020204" pitchFamily="34" charset="0"/>
              </a:rPr>
              <a:t>Video</a:t>
            </a:r>
            <a:endParaRPr lang="en-US" sz="1600" dirty="0" err="1">
              <a:solidFill>
                <a:schemeClr val="tx2"/>
              </a:solidFill>
            </a:endParaRPr>
          </a:p>
        </p:txBody>
      </p:sp>
      <p:sp>
        <p:nvSpPr>
          <p:cNvPr id="13" name="Rectangle 12">
            <a:extLst>
              <a:ext uri="{FF2B5EF4-FFF2-40B4-BE49-F238E27FC236}">
                <a16:creationId xmlns:a16="http://schemas.microsoft.com/office/drawing/2014/main" id="{EDB323EE-62E7-E6F8-DAFA-F79A68EF177F}"/>
              </a:ext>
            </a:extLst>
          </p:cNvPr>
          <p:cNvSpPr/>
          <p:nvPr/>
        </p:nvSpPr>
        <p:spPr>
          <a:xfrm>
            <a:off x="6840215" y="4971731"/>
            <a:ext cx="4844887" cy="9494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You can provide the SharePoint link or put all the image in folder and share </a:t>
            </a:r>
          </a:p>
        </p:txBody>
      </p:sp>
      <p:cxnSp>
        <p:nvCxnSpPr>
          <p:cNvPr id="7" name="Straight Arrow Connector 6">
            <a:extLst>
              <a:ext uri="{FF2B5EF4-FFF2-40B4-BE49-F238E27FC236}">
                <a16:creationId xmlns:a16="http://schemas.microsoft.com/office/drawing/2014/main" id="{8E5A85F9-6ED8-C933-5624-619046ECBA2C}"/>
              </a:ext>
            </a:extLst>
          </p:cNvPr>
          <p:cNvCxnSpPr/>
          <p:nvPr/>
        </p:nvCxnSpPr>
        <p:spPr>
          <a:xfrm flipH="1">
            <a:off x="1454009" y="2970626"/>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33483D4-0A46-DD0C-9677-FE7B3C33AEE8}"/>
              </a:ext>
            </a:extLst>
          </p:cNvPr>
          <p:cNvSpPr txBox="1"/>
          <p:nvPr/>
        </p:nvSpPr>
        <p:spPr>
          <a:xfrm>
            <a:off x="184109" y="2786799"/>
            <a:ext cx="1269899" cy="338554"/>
          </a:xfrm>
          <a:prstGeom prst="rect">
            <a:avLst/>
          </a:prstGeom>
          <a:noFill/>
        </p:spPr>
        <p:txBody>
          <a:bodyPr wrap="none" rtlCol="0">
            <a:spAutoFit/>
          </a:bodyPr>
          <a:lstStyle/>
          <a:p>
            <a:r>
              <a:rPr lang="en-US" sz="1600" dirty="0">
                <a:solidFill>
                  <a:schemeClr val="tx2"/>
                </a:solidFill>
              </a:rPr>
              <a:t>Introductory</a:t>
            </a:r>
          </a:p>
        </p:txBody>
      </p:sp>
      <p:cxnSp>
        <p:nvCxnSpPr>
          <p:cNvPr id="9" name="Straight Arrow Connector 8">
            <a:extLst>
              <a:ext uri="{FF2B5EF4-FFF2-40B4-BE49-F238E27FC236}">
                <a16:creationId xmlns:a16="http://schemas.microsoft.com/office/drawing/2014/main" id="{BB2382CC-CD84-B283-589F-DD7C3FCF1EBE}"/>
              </a:ext>
            </a:extLst>
          </p:cNvPr>
          <p:cNvCxnSpPr/>
          <p:nvPr/>
        </p:nvCxnSpPr>
        <p:spPr>
          <a:xfrm flipH="1">
            <a:off x="1454008" y="5751926"/>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40411D-0066-E2A8-0343-E1FD99652B13}"/>
              </a:ext>
            </a:extLst>
          </p:cNvPr>
          <p:cNvSpPr txBox="1"/>
          <p:nvPr/>
        </p:nvSpPr>
        <p:spPr>
          <a:xfrm>
            <a:off x="323569" y="5568099"/>
            <a:ext cx="990977" cy="338554"/>
          </a:xfrm>
          <a:prstGeom prst="rect">
            <a:avLst/>
          </a:prstGeom>
          <a:noFill/>
        </p:spPr>
        <p:txBody>
          <a:bodyPr wrap="none" rtlCol="0">
            <a:spAutoFit/>
          </a:bodyPr>
          <a:lstStyle/>
          <a:p>
            <a:r>
              <a:rPr lang="en-US" sz="1600" dirty="0">
                <a:solidFill>
                  <a:schemeClr val="tx2"/>
                </a:solidFill>
              </a:rPr>
              <a:t>Headline</a:t>
            </a:r>
          </a:p>
        </p:txBody>
      </p:sp>
      <p:cxnSp>
        <p:nvCxnSpPr>
          <p:cNvPr id="14" name="Straight Arrow Connector 13">
            <a:extLst>
              <a:ext uri="{FF2B5EF4-FFF2-40B4-BE49-F238E27FC236}">
                <a16:creationId xmlns:a16="http://schemas.microsoft.com/office/drawing/2014/main" id="{3BC3383B-6343-6615-9285-F1E5D6C7FAA3}"/>
              </a:ext>
            </a:extLst>
          </p:cNvPr>
          <p:cNvCxnSpPr/>
          <p:nvPr/>
        </p:nvCxnSpPr>
        <p:spPr>
          <a:xfrm flipH="1">
            <a:off x="1427664" y="4260861"/>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A4D2957-BB03-2FAB-5FB7-466580149D89}"/>
              </a:ext>
            </a:extLst>
          </p:cNvPr>
          <p:cNvSpPr txBox="1"/>
          <p:nvPr/>
        </p:nvSpPr>
        <p:spPr>
          <a:xfrm>
            <a:off x="442837" y="4081444"/>
            <a:ext cx="755335" cy="338554"/>
          </a:xfrm>
          <a:prstGeom prst="rect">
            <a:avLst/>
          </a:prstGeom>
          <a:noFill/>
        </p:spPr>
        <p:txBody>
          <a:bodyPr wrap="none" rtlCol="0">
            <a:spAutoFit/>
          </a:bodyPr>
          <a:lstStyle/>
          <a:p>
            <a:r>
              <a:rPr lang="en-US" sz="1600" dirty="0">
                <a:solidFill>
                  <a:schemeClr val="tx2"/>
                </a:solidFill>
              </a:rPr>
              <a:t>Image</a:t>
            </a:r>
          </a:p>
        </p:txBody>
      </p:sp>
      <p:sp>
        <p:nvSpPr>
          <p:cNvPr id="17" name="TextBox 16">
            <a:extLst>
              <a:ext uri="{FF2B5EF4-FFF2-40B4-BE49-F238E27FC236}">
                <a16:creationId xmlns:a16="http://schemas.microsoft.com/office/drawing/2014/main" id="{D5B088B3-A175-3163-E17A-0794470B26A9}"/>
              </a:ext>
            </a:extLst>
          </p:cNvPr>
          <p:cNvSpPr txBox="1"/>
          <p:nvPr/>
        </p:nvSpPr>
        <p:spPr>
          <a:xfrm>
            <a:off x="4172085" y="6259757"/>
            <a:ext cx="5330845" cy="369332"/>
          </a:xfrm>
          <a:prstGeom prst="rect">
            <a:avLst/>
          </a:prstGeom>
          <a:noFill/>
        </p:spPr>
        <p:txBody>
          <a:bodyPr wrap="square">
            <a:spAutoFit/>
          </a:bodyPr>
          <a:lstStyle/>
          <a:p>
            <a:r>
              <a:rPr lang="en-US" sz="1800" dirty="0">
                <a:solidFill>
                  <a:schemeClr val="tx2"/>
                </a:solidFill>
                <a:hlinkClick r:id="rId3"/>
              </a:rPr>
              <a:t>Here is some more information about the </a:t>
            </a:r>
            <a:r>
              <a:rPr lang="en-US" dirty="0">
                <a:solidFill>
                  <a:schemeClr val="tx2"/>
                </a:solidFill>
                <a:hlinkClick r:id="rId3"/>
              </a:rPr>
              <a:t>Video ad</a:t>
            </a:r>
            <a:endParaRPr lang="en-US" sz="1800" dirty="0">
              <a:solidFill>
                <a:schemeClr val="tx2"/>
              </a:solidFill>
            </a:endParaRPr>
          </a:p>
        </p:txBody>
      </p:sp>
      <p:sp>
        <p:nvSpPr>
          <p:cNvPr id="18" name="TextBox 17">
            <a:extLst>
              <a:ext uri="{FF2B5EF4-FFF2-40B4-BE49-F238E27FC236}">
                <a16:creationId xmlns:a16="http://schemas.microsoft.com/office/drawing/2014/main" id="{38998E48-6DBA-781F-6D99-A7D179039B1A}"/>
              </a:ext>
            </a:extLst>
          </p:cNvPr>
          <p:cNvSpPr txBox="1"/>
          <p:nvPr/>
        </p:nvSpPr>
        <p:spPr>
          <a:xfrm>
            <a:off x="384694" y="1272948"/>
            <a:ext cx="5825634" cy="338554"/>
          </a:xfrm>
          <a:prstGeom prst="rect">
            <a:avLst/>
          </a:prstGeom>
          <a:noFill/>
        </p:spPr>
        <p:txBody>
          <a:bodyPr wrap="none" rtlCol="0">
            <a:spAutoFit/>
          </a:bodyPr>
          <a:lstStyle/>
          <a:p>
            <a:r>
              <a:rPr lang="en-IN" sz="1600" b="1" i="0" dirty="0">
                <a:solidFill>
                  <a:srgbClr val="111111"/>
                </a:solidFill>
                <a:effectLst/>
                <a:highlight>
                  <a:srgbClr val="FFFFFF"/>
                </a:highlight>
                <a:latin typeface="-apple-system"/>
              </a:rPr>
              <a:t>Video Ads</a:t>
            </a:r>
            <a:r>
              <a:rPr lang="en-IN" sz="1600" b="0" i="0" dirty="0">
                <a:solidFill>
                  <a:srgbClr val="111111"/>
                </a:solidFill>
                <a:effectLst/>
                <a:highlight>
                  <a:srgbClr val="FFFFFF"/>
                </a:highlight>
                <a:latin typeface="-apple-system"/>
              </a:rPr>
              <a:t>: Ideal for storytelling, these ads auto-play in users’ feeds.</a:t>
            </a:r>
          </a:p>
        </p:txBody>
      </p:sp>
    </p:spTree>
    <p:extLst>
      <p:ext uri="{BB962C8B-B14F-4D97-AF65-F5344CB8AC3E}">
        <p14:creationId xmlns:p14="http://schemas.microsoft.com/office/powerpoint/2010/main" val="328063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69F31-BF85-614E-9D06-00989F090129}"/>
              </a:ext>
            </a:extLst>
          </p:cNvPr>
          <p:cNvSpPr>
            <a:spLocks noGrp="1"/>
          </p:cNvSpPr>
          <p:nvPr>
            <p:ph type="title"/>
          </p:nvPr>
        </p:nvSpPr>
        <p:spPr/>
        <p:txBody>
          <a:bodyPr/>
          <a:lstStyle/>
          <a:p>
            <a:r>
              <a:rPr lang="en-US" dirty="0"/>
              <a:t>Carousel Ad</a:t>
            </a:r>
          </a:p>
        </p:txBody>
      </p:sp>
      <p:pic>
        <p:nvPicPr>
          <p:cNvPr id="3" name="Picture 2">
            <a:extLst>
              <a:ext uri="{FF2B5EF4-FFF2-40B4-BE49-F238E27FC236}">
                <a16:creationId xmlns:a16="http://schemas.microsoft.com/office/drawing/2014/main" id="{E2EF7A43-BC8B-92DA-1D96-8DC3CDCA968F}"/>
              </a:ext>
            </a:extLst>
          </p:cNvPr>
          <p:cNvPicPr>
            <a:picLocks noChangeAspect="1"/>
          </p:cNvPicPr>
          <p:nvPr/>
        </p:nvPicPr>
        <p:blipFill>
          <a:blip r:embed="rId2"/>
          <a:stretch>
            <a:fillRect/>
          </a:stretch>
        </p:blipFill>
        <p:spPr>
          <a:xfrm>
            <a:off x="2019790" y="1973862"/>
            <a:ext cx="4158237" cy="41247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CFB04FF8-B929-4748-9589-E255E8850004}"/>
              </a:ext>
            </a:extLst>
          </p:cNvPr>
          <p:cNvSpPr txBox="1"/>
          <p:nvPr/>
        </p:nvSpPr>
        <p:spPr>
          <a:xfrm>
            <a:off x="6878367" y="1881700"/>
            <a:ext cx="2690160" cy="338554"/>
          </a:xfrm>
          <a:prstGeom prst="rect">
            <a:avLst/>
          </a:prstGeom>
          <a:noFill/>
        </p:spPr>
        <p:txBody>
          <a:bodyPr wrap="none" rtlCol="0">
            <a:spAutoFit/>
          </a:bodyPr>
          <a:lstStyle/>
          <a:p>
            <a:r>
              <a:rPr lang="en-IN" sz="1600" b="1" i="0" dirty="0">
                <a:effectLst/>
                <a:highlight>
                  <a:srgbClr val="FFFFFF"/>
                </a:highlight>
                <a:latin typeface="Source Sans Pro" panose="020B0503030403020204" pitchFamily="34" charset="0"/>
              </a:rPr>
              <a:t>Card headline: </a:t>
            </a:r>
            <a:r>
              <a:rPr lang="en-IN" sz="1600" b="0" i="0" dirty="0">
                <a:effectLst/>
                <a:highlight>
                  <a:srgbClr val="FFFFFF"/>
                </a:highlight>
                <a:latin typeface="Source Sans Pro" panose="020B0503030403020204" pitchFamily="34" charset="0"/>
              </a:rPr>
              <a:t>45 characters</a:t>
            </a:r>
            <a:endParaRPr lang="en-US" sz="1600" dirty="0" err="1">
              <a:solidFill>
                <a:schemeClr val="tx2"/>
              </a:solidFill>
            </a:endParaRPr>
          </a:p>
        </p:txBody>
      </p:sp>
      <p:sp>
        <p:nvSpPr>
          <p:cNvPr id="5" name="Rectangle 4">
            <a:extLst>
              <a:ext uri="{FF2B5EF4-FFF2-40B4-BE49-F238E27FC236}">
                <a16:creationId xmlns:a16="http://schemas.microsoft.com/office/drawing/2014/main" id="{BF2BC29B-E942-CAF1-98BE-9A4AF76BC314}"/>
              </a:ext>
            </a:extLst>
          </p:cNvPr>
          <p:cNvSpPr/>
          <p:nvPr/>
        </p:nvSpPr>
        <p:spPr>
          <a:xfrm>
            <a:off x="6878367" y="2220255"/>
            <a:ext cx="4844887" cy="457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45 Char</a:t>
            </a:r>
          </a:p>
        </p:txBody>
      </p:sp>
      <p:sp>
        <p:nvSpPr>
          <p:cNvPr id="6" name="TextBox 5">
            <a:extLst>
              <a:ext uri="{FF2B5EF4-FFF2-40B4-BE49-F238E27FC236}">
                <a16:creationId xmlns:a16="http://schemas.microsoft.com/office/drawing/2014/main" id="{0FF7609F-77FE-FE22-9513-16F9232C3244}"/>
              </a:ext>
            </a:extLst>
          </p:cNvPr>
          <p:cNvSpPr txBox="1"/>
          <p:nvPr/>
        </p:nvSpPr>
        <p:spPr>
          <a:xfrm>
            <a:off x="6878366" y="2954834"/>
            <a:ext cx="3488349" cy="338554"/>
          </a:xfrm>
          <a:prstGeom prst="rect">
            <a:avLst/>
          </a:prstGeom>
          <a:noFill/>
        </p:spPr>
        <p:txBody>
          <a:bodyPr wrap="square" rtlCol="0">
            <a:spAutoFit/>
          </a:bodyPr>
          <a:lstStyle/>
          <a:p>
            <a:pPr algn="l" fontAlgn="base"/>
            <a:r>
              <a:rPr lang="en-IN" sz="1600" b="1" i="0" dirty="0">
                <a:effectLst/>
                <a:highlight>
                  <a:srgbClr val="FFFFFF"/>
                </a:highlight>
                <a:latin typeface="Source Sans Pro" panose="020B0503030403020204" pitchFamily="34" charset="0"/>
              </a:rPr>
              <a:t>Introductory text: </a:t>
            </a:r>
            <a:r>
              <a:rPr lang="en-IN" sz="1600" b="0" i="0" dirty="0">
                <a:effectLst/>
                <a:highlight>
                  <a:srgbClr val="FFFFFF"/>
                </a:highlight>
                <a:latin typeface="Source Sans Pro" panose="020B0503030403020204" pitchFamily="34" charset="0"/>
              </a:rPr>
              <a:t>255 characters</a:t>
            </a:r>
          </a:p>
        </p:txBody>
      </p:sp>
      <p:sp>
        <p:nvSpPr>
          <p:cNvPr id="10" name="Rectangle 9">
            <a:extLst>
              <a:ext uri="{FF2B5EF4-FFF2-40B4-BE49-F238E27FC236}">
                <a16:creationId xmlns:a16="http://schemas.microsoft.com/office/drawing/2014/main" id="{204C60D9-04D3-9513-2570-DCC34EE13C4A}"/>
              </a:ext>
            </a:extLst>
          </p:cNvPr>
          <p:cNvSpPr/>
          <p:nvPr/>
        </p:nvSpPr>
        <p:spPr>
          <a:xfrm>
            <a:off x="6878366" y="3269445"/>
            <a:ext cx="4844887" cy="1305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MAX :- 255 Char</a:t>
            </a:r>
          </a:p>
        </p:txBody>
      </p:sp>
      <p:sp>
        <p:nvSpPr>
          <p:cNvPr id="11" name="TextBox 10">
            <a:extLst>
              <a:ext uri="{FF2B5EF4-FFF2-40B4-BE49-F238E27FC236}">
                <a16:creationId xmlns:a16="http://schemas.microsoft.com/office/drawing/2014/main" id="{70170617-010E-0C47-B0F1-96C64BD00CED}"/>
              </a:ext>
            </a:extLst>
          </p:cNvPr>
          <p:cNvSpPr txBox="1"/>
          <p:nvPr/>
        </p:nvSpPr>
        <p:spPr>
          <a:xfrm>
            <a:off x="6878366" y="4718466"/>
            <a:ext cx="837089" cy="338554"/>
          </a:xfrm>
          <a:prstGeom prst="rect">
            <a:avLst/>
          </a:prstGeom>
          <a:noFill/>
        </p:spPr>
        <p:txBody>
          <a:bodyPr wrap="none" rtlCol="0">
            <a:spAutoFit/>
          </a:bodyPr>
          <a:lstStyle/>
          <a:p>
            <a:r>
              <a:rPr lang="en-IN" sz="1600" b="1" i="0" dirty="0">
                <a:effectLst/>
                <a:highlight>
                  <a:srgbClr val="FFFFFF"/>
                </a:highlight>
                <a:latin typeface="Source Sans Pro" panose="020B0503030403020204" pitchFamily="34" charset="0"/>
              </a:rPr>
              <a:t>Images</a:t>
            </a:r>
            <a:endParaRPr lang="en-US" sz="1600" dirty="0" err="1">
              <a:solidFill>
                <a:schemeClr val="tx2"/>
              </a:solidFill>
            </a:endParaRPr>
          </a:p>
        </p:txBody>
      </p:sp>
      <p:sp>
        <p:nvSpPr>
          <p:cNvPr id="13" name="Rectangle 12">
            <a:extLst>
              <a:ext uri="{FF2B5EF4-FFF2-40B4-BE49-F238E27FC236}">
                <a16:creationId xmlns:a16="http://schemas.microsoft.com/office/drawing/2014/main" id="{28D79B39-377A-C1DE-9506-C4D790F708E0}"/>
              </a:ext>
            </a:extLst>
          </p:cNvPr>
          <p:cNvSpPr/>
          <p:nvPr/>
        </p:nvSpPr>
        <p:spPr>
          <a:xfrm>
            <a:off x="6878366" y="5057020"/>
            <a:ext cx="4844887" cy="9494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t>You can provide the SharePoint link or put all the image in folder and share </a:t>
            </a:r>
          </a:p>
        </p:txBody>
      </p:sp>
      <p:sp>
        <p:nvSpPr>
          <p:cNvPr id="14" name="TextBox 13">
            <a:extLst>
              <a:ext uri="{FF2B5EF4-FFF2-40B4-BE49-F238E27FC236}">
                <a16:creationId xmlns:a16="http://schemas.microsoft.com/office/drawing/2014/main" id="{491EBFCA-66C0-2A1C-1A2E-EC2C523D92C2}"/>
              </a:ext>
            </a:extLst>
          </p:cNvPr>
          <p:cNvSpPr txBox="1"/>
          <p:nvPr/>
        </p:nvSpPr>
        <p:spPr>
          <a:xfrm>
            <a:off x="6878366" y="2693355"/>
            <a:ext cx="2731838" cy="246221"/>
          </a:xfrm>
          <a:prstGeom prst="rect">
            <a:avLst/>
          </a:prstGeom>
          <a:noFill/>
        </p:spPr>
        <p:txBody>
          <a:bodyPr wrap="none" lIns="91440" tIns="45720" rIns="91440" bIns="45720" rtlCol="0" anchor="t">
            <a:spAutoFit/>
          </a:bodyPr>
          <a:lstStyle/>
          <a:p>
            <a:r>
              <a:rPr lang="en-US" sz="1000" dirty="0">
                <a:solidFill>
                  <a:schemeClr val="tx2"/>
                </a:solidFill>
              </a:rPr>
              <a:t>*Please have separate heading for each card</a:t>
            </a:r>
          </a:p>
        </p:txBody>
      </p:sp>
      <p:sp>
        <p:nvSpPr>
          <p:cNvPr id="8" name="TextBox 7">
            <a:extLst>
              <a:ext uri="{FF2B5EF4-FFF2-40B4-BE49-F238E27FC236}">
                <a16:creationId xmlns:a16="http://schemas.microsoft.com/office/drawing/2014/main" id="{F585696D-98E3-EE9B-6CA4-07063E39E814}"/>
              </a:ext>
            </a:extLst>
          </p:cNvPr>
          <p:cNvSpPr txBox="1"/>
          <p:nvPr/>
        </p:nvSpPr>
        <p:spPr>
          <a:xfrm>
            <a:off x="3837811" y="6320670"/>
            <a:ext cx="5730716" cy="369332"/>
          </a:xfrm>
          <a:prstGeom prst="rect">
            <a:avLst/>
          </a:prstGeom>
          <a:noFill/>
        </p:spPr>
        <p:txBody>
          <a:bodyPr wrap="square">
            <a:spAutoFit/>
          </a:bodyPr>
          <a:lstStyle/>
          <a:p>
            <a:r>
              <a:rPr lang="en-US" sz="1800" dirty="0">
                <a:solidFill>
                  <a:schemeClr val="tx2"/>
                </a:solidFill>
                <a:hlinkClick r:id="rId3"/>
              </a:rPr>
              <a:t>Here is some more information about the Carousel</a:t>
            </a:r>
            <a:r>
              <a:rPr lang="en-US" dirty="0">
                <a:solidFill>
                  <a:schemeClr val="tx2"/>
                </a:solidFill>
                <a:hlinkClick r:id="rId3"/>
              </a:rPr>
              <a:t> ad</a:t>
            </a:r>
            <a:endParaRPr lang="en-US" sz="1800" dirty="0">
              <a:solidFill>
                <a:schemeClr val="tx2"/>
              </a:solidFill>
            </a:endParaRPr>
          </a:p>
        </p:txBody>
      </p:sp>
      <p:sp>
        <p:nvSpPr>
          <p:cNvPr id="12" name="TextBox 11">
            <a:extLst>
              <a:ext uri="{FF2B5EF4-FFF2-40B4-BE49-F238E27FC236}">
                <a16:creationId xmlns:a16="http://schemas.microsoft.com/office/drawing/2014/main" id="{8A92DE6A-0973-7A31-D144-B17FCC69E204}"/>
              </a:ext>
            </a:extLst>
          </p:cNvPr>
          <p:cNvSpPr txBox="1"/>
          <p:nvPr/>
        </p:nvSpPr>
        <p:spPr>
          <a:xfrm>
            <a:off x="2151149" y="1149050"/>
            <a:ext cx="8884619" cy="646331"/>
          </a:xfrm>
          <a:prstGeom prst="rect">
            <a:avLst/>
          </a:prstGeom>
          <a:noFill/>
        </p:spPr>
        <p:txBody>
          <a:bodyPr wrap="square">
            <a:spAutoFit/>
          </a:bodyPr>
          <a:lstStyle/>
          <a:p>
            <a:pPr algn="l"/>
            <a:r>
              <a:rPr lang="en-IN" b="1" i="0" dirty="0">
                <a:solidFill>
                  <a:srgbClr val="111111"/>
                </a:solidFill>
                <a:effectLst/>
                <a:highlight>
                  <a:srgbClr val="FFFFFF"/>
                </a:highlight>
                <a:latin typeface="-apple-system"/>
              </a:rPr>
              <a:t>Carousel Ads</a:t>
            </a:r>
            <a:r>
              <a:rPr lang="en-IN" b="0" i="0" dirty="0">
                <a:solidFill>
                  <a:srgbClr val="111111"/>
                </a:solidFill>
                <a:effectLst/>
                <a:highlight>
                  <a:srgbClr val="FFFFFF"/>
                </a:highlight>
                <a:latin typeface="-apple-system"/>
              </a:rPr>
              <a:t>: A series of images that users can swipe through, great for showcasing multiple products or telling a brand story.</a:t>
            </a:r>
          </a:p>
        </p:txBody>
      </p:sp>
      <p:cxnSp>
        <p:nvCxnSpPr>
          <p:cNvPr id="15" name="Straight Arrow Connector 14">
            <a:extLst>
              <a:ext uri="{FF2B5EF4-FFF2-40B4-BE49-F238E27FC236}">
                <a16:creationId xmlns:a16="http://schemas.microsoft.com/office/drawing/2014/main" id="{9F063022-598B-CBA5-8FFC-04DF23F15F44}"/>
              </a:ext>
            </a:extLst>
          </p:cNvPr>
          <p:cNvCxnSpPr/>
          <p:nvPr/>
        </p:nvCxnSpPr>
        <p:spPr>
          <a:xfrm flipH="1">
            <a:off x="1575288" y="2782575"/>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51B84AE-6858-480C-6902-4B9064928F77}"/>
              </a:ext>
            </a:extLst>
          </p:cNvPr>
          <p:cNvSpPr txBox="1"/>
          <p:nvPr/>
        </p:nvSpPr>
        <p:spPr>
          <a:xfrm>
            <a:off x="305388" y="2598748"/>
            <a:ext cx="1269899" cy="338554"/>
          </a:xfrm>
          <a:prstGeom prst="rect">
            <a:avLst/>
          </a:prstGeom>
          <a:noFill/>
        </p:spPr>
        <p:txBody>
          <a:bodyPr wrap="none" rtlCol="0">
            <a:spAutoFit/>
          </a:bodyPr>
          <a:lstStyle/>
          <a:p>
            <a:r>
              <a:rPr lang="en-US" sz="1600" dirty="0">
                <a:solidFill>
                  <a:schemeClr val="tx2"/>
                </a:solidFill>
              </a:rPr>
              <a:t>Introductory</a:t>
            </a:r>
          </a:p>
        </p:txBody>
      </p:sp>
      <p:cxnSp>
        <p:nvCxnSpPr>
          <p:cNvPr id="17" name="Straight Arrow Connector 16">
            <a:extLst>
              <a:ext uri="{FF2B5EF4-FFF2-40B4-BE49-F238E27FC236}">
                <a16:creationId xmlns:a16="http://schemas.microsoft.com/office/drawing/2014/main" id="{4D3E30FC-F3EC-5F85-B49A-DB4F81B6B9DC}"/>
              </a:ext>
            </a:extLst>
          </p:cNvPr>
          <p:cNvCxnSpPr/>
          <p:nvPr/>
        </p:nvCxnSpPr>
        <p:spPr>
          <a:xfrm flipH="1">
            <a:off x="1575287" y="5563875"/>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CD15B50-204E-73AA-E252-D05DC7318FCD}"/>
              </a:ext>
            </a:extLst>
          </p:cNvPr>
          <p:cNvSpPr txBox="1"/>
          <p:nvPr/>
        </p:nvSpPr>
        <p:spPr>
          <a:xfrm>
            <a:off x="444848" y="5380048"/>
            <a:ext cx="990977" cy="338554"/>
          </a:xfrm>
          <a:prstGeom prst="rect">
            <a:avLst/>
          </a:prstGeom>
          <a:noFill/>
        </p:spPr>
        <p:txBody>
          <a:bodyPr wrap="none" rtlCol="0">
            <a:spAutoFit/>
          </a:bodyPr>
          <a:lstStyle/>
          <a:p>
            <a:r>
              <a:rPr lang="en-US" sz="1600" dirty="0">
                <a:solidFill>
                  <a:schemeClr val="tx2"/>
                </a:solidFill>
              </a:rPr>
              <a:t>Headline</a:t>
            </a:r>
          </a:p>
        </p:txBody>
      </p:sp>
      <p:cxnSp>
        <p:nvCxnSpPr>
          <p:cNvPr id="19" name="Straight Arrow Connector 18">
            <a:extLst>
              <a:ext uri="{FF2B5EF4-FFF2-40B4-BE49-F238E27FC236}">
                <a16:creationId xmlns:a16="http://schemas.microsoft.com/office/drawing/2014/main" id="{857F6EDC-32CD-F5C7-6C8C-14F93BC5EAAA}"/>
              </a:ext>
            </a:extLst>
          </p:cNvPr>
          <p:cNvCxnSpPr/>
          <p:nvPr/>
        </p:nvCxnSpPr>
        <p:spPr>
          <a:xfrm flipH="1">
            <a:off x="1548943" y="4072810"/>
            <a:ext cx="51160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494389-509C-A722-C7B0-CF9A83A361EA}"/>
              </a:ext>
            </a:extLst>
          </p:cNvPr>
          <p:cNvSpPr txBox="1"/>
          <p:nvPr/>
        </p:nvSpPr>
        <p:spPr>
          <a:xfrm>
            <a:off x="564116" y="3893393"/>
            <a:ext cx="755335" cy="338554"/>
          </a:xfrm>
          <a:prstGeom prst="rect">
            <a:avLst/>
          </a:prstGeom>
          <a:noFill/>
        </p:spPr>
        <p:txBody>
          <a:bodyPr wrap="none" rtlCol="0">
            <a:spAutoFit/>
          </a:bodyPr>
          <a:lstStyle/>
          <a:p>
            <a:r>
              <a:rPr lang="en-US" sz="1600" dirty="0">
                <a:solidFill>
                  <a:schemeClr val="tx2"/>
                </a:solidFill>
              </a:rPr>
              <a:t>Image</a:t>
            </a:r>
          </a:p>
        </p:txBody>
      </p:sp>
    </p:spTree>
    <p:extLst>
      <p:ext uri="{BB962C8B-B14F-4D97-AF65-F5344CB8AC3E}">
        <p14:creationId xmlns:p14="http://schemas.microsoft.com/office/powerpoint/2010/main" val="130174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CA93874A-EF3C-4789-80B6-5DE82D44B568}" vid="{929CB319-3504-456F-A4D2-F1015343EBC5}"/>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3d99252-4236-4875-9705-b79300e2d557">
      <Terms xmlns="http://schemas.microsoft.com/office/infopath/2007/PartnerControls"/>
    </lcf76f155ced4ddcb4097134ff3c332f>
    <TaxCatchAll xmlns="1c9b69b2-596d-4757-b9cd-cd8972304baa" xsi:nil="true"/>
    <SharedWithUsers xmlns="1c9b69b2-596d-4757-b9cd-cd8972304baa">
      <UserInfo>
        <DisplayName>Riley, Ashley</DisplayName>
        <AccountId>150</AccountId>
        <AccountType/>
      </UserInfo>
      <UserInfo>
        <DisplayName>Kamboj, Sandeep</DisplayName>
        <AccountId>32</AccountId>
        <AccountType/>
      </UserInfo>
      <UserInfo>
        <DisplayName>Galagali, Hemant</DisplayName>
        <AccountId>19</AccountId>
        <AccountType/>
      </UserInfo>
    </SharedWithUsers>
  </documentManagement>
</p:properties>
</file>

<file path=customXml/itemProps1.xml><?xml version="1.0" encoding="utf-8"?>
<ds:datastoreItem xmlns:ds="http://schemas.openxmlformats.org/officeDocument/2006/customXml" ds:itemID="{30BBD903-06FA-4FF4-AD8F-A274F931AA16}">
  <ds:schemaRefs>
    <ds:schemaRef ds:uri="http://schemas.microsoft.com/sharepoint/v3/contenttype/forms"/>
  </ds:schemaRefs>
</ds:datastoreItem>
</file>

<file path=customXml/itemProps2.xml><?xml version="1.0" encoding="utf-8"?>
<ds:datastoreItem xmlns:ds="http://schemas.openxmlformats.org/officeDocument/2006/customXml" ds:itemID="{DAF3A303-0654-49FF-BF9D-C7F21190F0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d99252-4236-4875-9705-b79300e2d557"/>
    <ds:schemaRef ds:uri="1c9b69b2-596d-4757-b9cd-cd8972304b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AE857D-EA30-4B74-9639-7EECF19E9D11}">
  <ds:schemaRefs>
    <ds:schemaRef ds:uri="http://schemas.microsoft.com/office/2006/metadata/properties"/>
    <ds:schemaRef ds:uri="http://schemas.microsoft.com/office/infopath/2007/PartnerControls"/>
    <ds:schemaRef ds:uri="http://schemas.microsoft.com/office/2006/documentManagement/types"/>
    <ds:schemaRef ds:uri="http://purl.org/dc/terms/"/>
    <ds:schemaRef ds:uri="http://purl.org/dc/dcmitype/"/>
    <ds:schemaRef ds:uri="http://purl.org/dc/elements/1.1/"/>
    <ds:schemaRef ds:uri="http://www.w3.org/XML/1998/namespace"/>
    <ds:schemaRef ds:uri="http://schemas.openxmlformats.org/package/2006/metadata/core-properties"/>
    <ds:schemaRef ds:uri="bb20aa8f-097b-4b11-9da2-41b9deda0bfe"/>
    <ds:schemaRef ds:uri="a3d99252-4236-4875-9705-b79300e2d557"/>
    <ds:schemaRef ds:uri="1c9b69b2-596d-4757-b9cd-cd8972304baa"/>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IQVIA_V3.0</Template>
  <TotalTime>12778</TotalTime>
  <Words>854</Words>
  <Application>Microsoft Office PowerPoint</Application>
  <PresentationFormat>Widescreen</PresentationFormat>
  <Paragraphs>75</Paragraphs>
  <Slides>6</Slides>
  <Notes>3</Notes>
  <HiddenSlides>0</HiddenSlides>
  <MMClips>0</MMClip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IQVIA_V3.0.0</vt:lpstr>
      <vt:lpstr>LinkedIn intake template </vt:lpstr>
      <vt:lpstr>Introduction to LinkedIn Ad Formats and Specifications</vt:lpstr>
      <vt:lpstr>Single Image Ad</vt:lpstr>
      <vt:lpstr>Document Ad</vt:lpstr>
      <vt:lpstr>Video Ad</vt:lpstr>
      <vt:lpstr>Carousel A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kedIn intake template </dc:title>
  <dc:creator>Biradar, Shivasagar</dc:creator>
  <cp:lastModifiedBy>Biradar, Shivasagar</cp:lastModifiedBy>
  <cp:revision>17</cp:revision>
  <cp:lastPrinted>2019-08-20T20:33:24Z</cp:lastPrinted>
  <dcterms:created xsi:type="dcterms:W3CDTF">2024-04-09T06:23:59Z</dcterms:created>
  <dcterms:modified xsi:type="dcterms:W3CDTF">2024-06-27T07:1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